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media/image1.svg" ContentType="image/svg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34"/>
  </p:notesMasterIdLst>
  <p:handoutMasterIdLst>
    <p:handoutMasterId r:id="rId35"/>
  </p:handoutMasterIdLst>
  <p:sldIdLst>
    <p:sldId id="256" r:id="rId3"/>
    <p:sldId id="269" r:id="rId4"/>
    <p:sldId id="258" r:id="rId5"/>
    <p:sldId id="273" r:id="rId6"/>
    <p:sldId id="315" r:id="rId7"/>
    <p:sldId id="316" r:id="rId8"/>
    <p:sldId id="317" r:id="rId9"/>
    <p:sldId id="318" r:id="rId10"/>
    <p:sldId id="319" r:id="rId11"/>
    <p:sldId id="320" r:id="rId12"/>
    <p:sldId id="321" r:id="rId13"/>
    <p:sldId id="292" r:id="rId14"/>
    <p:sldId id="322" r:id="rId15"/>
    <p:sldId id="323" r:id="rId16"/>
    <p:sldId id="324" r:id="rId17"/>
    <p:sldId id="325" r:id="rId18"/>
    <p:sldId id="326" r:id="rId19"/>
    <p:sldId id="327" r:id="rId20"/>
    <p:sldId id="293" r:id="rId21"/>
    <p:sldId id="282" r:id="rId22"/>
    <p:sldId id="283" r:id="rId23"/>
    <p:sldId id="284" r:id="rId24"/>
    <p:sldId id="285" r:id="rId25"/>
    <p:sldId id="294" r:id="rId26"/>
    <p:sldId id="286" r:id="rId27"/>
    <p:sldId id="296" r:id="rId28"/>
    <p:sldId id="298" r:id="rId29"/>
    <p:sldId id="299" r:id="rId30"/>
    <p:sldId id="288" r:id="rId31"/>
    <p:sldId id="289" r:id="rId32"/>
    <p:sldId id="261" r:id="rId33"/>
  </p:sldIdLst>
  <p:sldSz cx="12192000" cy="6858000"/>
  <p:notesSz cx="6858000" cy="9144000"/>
  <p:custDataLst>
    <p:tags r:id="rId39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05F2C04-C923-438B-8C0F-E0CD2BADF298}">
      <wppc:fontMiss xmlns:wppc="http://www.wps.cn/officeDocument/PresentationCustomData" type="true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DAAFF"/>
    <a:srgbClr val="4F86FF"/>
    <a:srgbClr val="81CBFF"/>
    <a:srgbClr val="A20000"/>
    <a:srgbClr val="A40000"/>
    <a:srgbClr val="9E0000"/>
    <a:srgbClr val="C7450B"/>
    <a:srgbClr val="E24E0C"/>
    <a:srgbClr val="DC6140"/>
    <a:srgbClr val="E6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663" autoAdjust="0"/>
    <p:restoredTop sz="96182" autoAdjust="0"/>
  </p:normalViewPr>
  <p:slideViewPr>
    <p:cSldViewPr snapToGrid="0">
      <p:cViewPr>
        <p:scale>
          <a:sx n="50" d="100"/>
          <a:sy n="50" d="100"/>
        </p:scale>
        <p:origin x="-294" y="-1758"/>
      </p:cViewPr>
      <p:guideLst>
        <p:guide orient="horz" pos="2148"/>
        <p:guide pos="384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39" d="100"/>
        <a:sy n="139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9" Type="http://schemas.openxmlformats.org/officeDocument/2006/relationships/tags" Target="tags/tag13.xml"/><Relationship Id="rId38" Type="http://schemas.openxmlformats.org/officeDocument/2006/relationships/tableStyles" Target="tableStyles.xml"/><Relationship Id="rId37" Type="http://schemas.openxmlformats.org/officeDocument/2006/relationships/viewProps" Target="viewProps.xml"/><Relationship Id="rId36" Type="http://schemas.openxmlformats.org/officeDocument/2006/relationships/presProps" Target="presProps.xml"/><Relationship Id="rId35" Type="http://schemas.openxmlformats.org/officeDocument/2006/relationships/handoutMaster" Target="handoutMasters/handoutMaster1.xml"/><Relationship Id="rId34" Type="http://schemas.openxmlformats.org/officeDocument/2006/relationships/notesMaster" Target="notesMasters/notesMaster1.xml"/><Relationship Id="rId33" Type="http://schemas.openxmlformats.org/officeDocument/2006/relationships/slide" Target="slides/slide31.xml"/><Relationship Id="rId32" Type="http://schemas.openxmlformats.org/officeDocument/2006/relationships/slide" Target="slides/slide30.xml"/><Relationship Id="rId31" Type="http://schemas.openxmlformats.org/officeDocument/2006/relationships/slide" Target="slides/slide29.xml"/><Relationship Id="rId30" Type="http://schemas.openxmlformats.org/officeDocument/2006/relationships/slide" Target="slides/slide28.xml"/><Relationship Id="rId3" Type="http://schemas.openxmlformats.org/officeDocument/2006/relationships/slide" Target="slides/slide1.xml"/><Relationship Id="rId29" Type="http://schemas.openxmlformats.org/officeDocument/2006/relationships/slide" Target="slides/slide27.xml"/><Relationship Id="rId28" Type="http://schemas.openxmlformats.org/officeDocument/2006/relationships/slide" Target="slides/slide26.xml"/><Relationship Id="rId27" Type="http://schemas.openxmlformats.org/officeDocument/2006/relationships/slide" Target="slides/slide25.xml"/><Relationship Id="rId26" Type="http://schemas.openxmlformats.org/officeDocument/2006/relationships/slide" Target="slides/slide24.xml"/><Relationship Id="rId25" Type="http://schemas.openxmlformats.org/officeDocument/2006/relationships/slide" Target="slides/slide23.xml"/><Relationship Id="rId24" Type="http://schemas.openxmlformats.org/officeDocument/2006/relationships/slide" Target="slides/slide22.xml"/><Relationship Id="rId23" Type="http://schemas.openxmlformats.org/officeDocument/2006/relationships/slide" Target="slides/slide21.xml"/><Relationship Id="rId22" Type="http://schemas.openxmlformats.org/officeDocument/2006/relationships/slide" Target="slides/slide20.xml"/><Relationship Id="rId21" Type="http://schemas.openxmlformats.org/officeDocument/2006/relationships/slide" Target="slides/slide19.xml"/><Relationship Id="rId20" Type="http://schemas.openxmlformats.org/officeDocument/2006/relationships/slide" Target="slides/slide18.xml"/><Relationship Id="rId2" Type="http://schemas.openxmlformats.org/officeDocument/2006/relationships/theme" Target="theme/theme1.xml"/><Relationship Id="rId19" Type="http://schemas.openxmlformats.org/officeDocument/2006/relationships/slide" Target="slides/slide17.xml"/><Relationship Id="rId18" Type="http://schemas.openxmlformats.org/officeDocument/2006/relationships/slide" Target="slides/slide16.xml"/><Relationship Id="rId17" Type="http://schemas.openxmlformats.org/officeDocument/2006/relationships/slide" Target="slides/slide15.xml"/><Relationship Id="rId16" Type="http://schemas.openxmlformats.org/officeDocument/2006/relationships/slide" Target="slides/slide14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形 5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0"/>
            <a:ext cx="12192000" cy="6715233"/>
          </a:xfrm>
          <a:prstGeom prst="rect">
            <a:avLst/>
          </a:prstGeom>
        </p:spPr>
      </p:pic>
      <p:sp>
        <p:nvSpPr>
          <p:cNvPr id="9801" name="副标题 9800"/>
          <p:cNvSpPr>
            <a:spLocks noGrp="1"/>
          </p:cNvSpPr>
          <p:nvPr userDrawn="1">
            <p:ph type="subTitle" idx="1"/>
          </p:nvPr>
        </p:nvSpPr>
        <p:spPr>
          <a:xfrm>
            <a:off x="1058688" y="4126794"/>
            <a:ext cx="6119586" cy="558799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 algn="l">
              <a:buNone/>
              <a:defRPr sz="16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/>
          </p:nvPr>
        </p:nvSpPr>
        <p:spPr>
          <a:xfrm>
            <a:off x="1058688" y="4833729"/>
            <a:ext cx="6119586" cy="125124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1058688" y="4730320"/>
            <a:ext cx="2555369" cy="0"/>
          </a:xfrm>
          <a:prstGeom prst="line">
            <a:avLst/>
          </a:prstGeom>
          <a:ln>
            <a:solidFill>
              <a:srgbClr val="538D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í$ḷîḑê"/>
          <p:cNvSpPr/>
          <p:nvPr userDrawn="1"/>
        </p:nvSpPr>
        <p:spPr>
          <a:xfrm>
            <a:off x="-2359" y="-38530"/>
            <a:ext cx="12192000" cy="3783256"/>
          </a:xfrm>
          <a:prstGeom prst="rect">
            <a:avLst/>
          </a:prstGeom>
          <a:gradFill>
            <a:gsLst>
              <a:gs pos="0">
                <a:srgbClr val="81CBFF"/>
              </a:gs>
              <a:gs pos="100000">
                <a:srgbClr val="4F86FF"/>
              </a:gs>
            </a:gsLst>
            <a:lin ang="5400000" scaled="1"/>
          </a:gra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675698" y="4185069"/>
            <a:ext cx="5419185" cy="89535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676814" y="5080419"/>
            <a:ext cx="5419185" cy="101562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6" name="íṥḻiḓe"/>
          <p:cNvSpPr/>
          <p:nvPr/>
        </p:nvSpPr>
        <p:spPr>
          <a:xfrm>
            <a:off x="8316982" y="3324591"/>
            <a:ext cx="935729" cy="2752145"/>
          </a:xfrm>
          <a:custGeom>
            <a:avLst/>
            <a:gdLst>
              <a:gd name="connsiteX0" fmla="*/ 591711 w 935729"/>
              <a:gd name="connsiteY0" fmla="*/ 0 h 2752144"/>
              <a:gd name="connsiteX1" fmla="*/ 478873 w 935729"/>
              <a:gd name="connsiteY1" fmla="*/ 0 h 2752144"/>
              <a:gd name="connsiteX2" fmla="*/ 476121 w 935729"/>
              <a:gd name="connsiteY2" fmla="*/ 0 h 2752144"/>
              <a:gd name="connsiteX3" fmla="*/ 363283 w 935729"/>
              <a:gd name="connsiteY3" fmla="*/ 0 h 2752144"/>
              <a:gd name="connsiteX4" fmla="*/ 0 w 935729"/>
              <a:gd name="connsiteY4" fmla="*/ 2774162 h 2752144"/>
              <a:gd name="connsiteX5" fmla="*/ 952241 w 935729"/>
              <a:gd name="connsiteY5" fmla="*/ 2774162 h 2752144"/>
              <a:gd name="connsiteX6" fmla="*/ 591711 w 935729"/>
              <a:gd name="connsiteY6" fmla="*/ 0 h 2752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35729" h="2752144">
                <a:moveTo>
                  <a:pt x="591711" y="0"/>
                </a:moveTo>
                <a:lnTo>
                  <a:pt x="478873" y="0"/>
                </a:lnTo>
                <a:lnTo>
                  <a:pt x="476121" y="0"/>
                </a:lnTo>
                <a:lnTo>
                  <a:pt x="363283" y="0"/>
                </a:lnTo>
                <a:cubicBezTo>
                  <a:pt x="363283" y="1315525"/>
                  <a:pt x="0" y="2774162"/>
                  <a:pt x="0" y="2774162"/>
                </a:cubicBezTo>
                <a:lnTo>
                  <a:pt x="952241" y="2774162"/>
                </a:lnTo>
                <a:cubicBezTo>
                  <a:pt x="954994" y="2774162"/>
                  <a:pt x="591711" y="1315525"/>
                  <a:pt x="591711" y="0"/>
                </a:cubicBezTo>
                <a:close/>
              </a:path>
            </a:pathLst>
          </a:custGeom>
          <a:solidFill>
            <a:srgbClr val="F0E0A8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7" name="îŝļïḓe"/>
          <p:cNvSpPr/>
          <p:nvPr/>
        </p:nvSpPr>
        <p:spPr>
          <a:xfrm>
            <a:off x="8603205" y="3236522"/>
            <a:ext cx="385300" cy="825643"/>
          </a:xfrm>
          <a:custGeom>
            <a:avLst/>
            <a:gdLst>
              <a:gd name="connsiteX0" fmla="*/ 385300 w 385300"/>
              <a:gd name="connsiteY0" fmla="*/ 192650 h 825643"/>
              <a:gd name="connsiteX1" fmla="*/ 192650 w 385300"/>
              <a:gd name="connsiteY1" fmla="*/ 850413 h 825643"/>
              <a:gd name="connsiteX2" fmla="*/ 0 w 385300"/>
              <a:gd name="connsiteY2" fmla="*/ 192650 h 825643"/>
              <a:gd name="connsiteX3" fmla="*/ 192650 w 385300"/>
              <a:gd name="connsiteY3" fmla="*/ 0 h 825643"/>
              <a:gd name="connsiteX4" fmla="*/ 385300 w 385300"/>
              <a:gd name="connsiteY4" fmla="*/ 192650 h 825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300" h="825643">
                <a:moveTo>
                  <a:pt x="385300" y="192650"/>
                </a:moveTo>
                <a:cubicBezTo>
                  <a:pt x="385300" y="299984"/>
                  <a:pt x="192650" y="850413"/>
                  <a:pt x="192650" y="850413"/>
                </a:cubicBezTo>
                <a:cubicBezTo>
                  <a:pt x="192650" y="850413"/>
                  <a:pt x="0" y="297232"/>
                  <a:pt x="0" y="192650"/>
                </a:cubicBezTo>
                <a:cubicBezTo>
                  <a:pt x="0" y="85316"/>
                  <a:pt x="85317" y="0"/>
                  <a:pt x="192650" y="0"/>
                </a:cubicBezTo>
                <a:cubicBezTo>
                  <a:pt x="299984" y="0"/>
                  <a:pt x="385300" y="85316"/>
                  <a:pt x="385300" y="192650"/>
                </a:cubicBezTo>
                <a:close/>
              </a:path>
            </a:pathLst>
          </a:custGeom>
          <a:solidFill>
            <a:srgbClr val="FFC72B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8" name="îṣľïdê"/>
          <p:cNvSpPr/>
          <p:nvPr/>
        </p:nvSpPr>
        <p:spPr>
          <a:xfrm>
            <a:off x="8578436" y="3123684"/>
            <a:ext cx="412822" cy="247693"/>
          </a:xfrm>
          <a:custGeom>
            <a:avLst/>
            <a:gdLst>
              <a:gd name="connsiteX0" fmla="*/ 434839 w 412821"/>
              <a:gd name="connsiteY0" fmla="*/ 247693 h 247693"/>
              <a:gd name="connsiteX1" fmla="*/ 0 w 412821"/>
              <a:gd name="connsiteY1" fmla="*/ 247693 h 247693"/>
              <a:gd name="connsiteX2" fmla="*/ 35778 w 412821"/>
              <a:gd name="connsiteY2" fmla="*/ 0 h 247693"/>
              <a:gd name="connsiteX3" fmla="*/ 399061 w 412821"/>
              <a:gd name="connsiteY3" fmla="*/ 0 h 247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2821" h="247693">
                <a:moveTo>
                  <a:pt x="434839" y="247693"/>
                </a:moveTo>
                <a:lnTo>
                  <a:pt x="0" y="247693"/>
                </a:lnTo>
                <a:lnTo>
                  <a:pt x="35778" y="0"/>
                </a:lnTo>
                <a:lnTo>
                  <a:pt x="399061" y="0"/>
                </a:lnTo>
                <a:close/>
              </a:path>
            </a:pathLst>
          </a:custGeom>
          <a:solidFill>
            <a:srgbClr val="526075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" name="ïsľiḋê"/>
          <p:cNvSpPr/>
          <p:nvPr/>
        </p:nvSpPr>
        <p:spPr>
          <a:xfrm>
            <a:off x="8160109" y="2765905"/>
            <a:ext cx="385300" cy="880686"/>
          </a:xfrm>
          <a:custGeom>
            <a:avLst/>
            <a:gdLst>
              <a:gd name="connsiteX0" fmla="*/ 322001 w 385300"/>
              <a:gd name="connsiteY0" fmla="*/ 0 h 880686"/>
              <a:gd name="connsiteX1" fmla="*/ 0 w 385300"/>
              <a:gd name="connsiteY1" fmla="*/ 330257 h 880686"/>
              <a:gd name="connsiteX2" fmla="*/ 283471 w 385300"/>
              <a:gd name="connsiteY2" fmla="*/ 880686 h 880686"/>
              <a:gd name="connsiteX3" fmla="*/ 399061 w 385300"/>
              <a:gd name="connsiteY3" fmla="*/ 880686 h 880686"/>
              <a:gd name="connsiteX4" fmla="*/ 399061 w 385300"/>
              <a:gd name="connsiteY4" fmla="*/ 0 h 88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300" h="880686">
                <a:moveTo>
                  <a:pt x="322001" y="0"/>
                </a:moveTo>
                <a:lnTo>
                  <a:pt x="0" y="330257"/>
                </a:lnTo>
                <a:lnTo>
                  <a:pt x="283471" y="880686"/>
                </a:lnTo>
                <a:lnTo>
                  <a:pt x="399061" y="880686"/>
                </a:lnTo>
                <a:lnTo>
                  <a:pt x="399061" y="0"/>
                </a:lnTo>
                <a:close/>
              </a:path>
            </a:pathLst>
          </a:custGeom>
          <a:solidFill>
            <a:srgbClr val="CBF060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0" name="íṥ1íde"/>
          <p:cNvSpPr/>
          <p:nvPr/>
        </p:nvSpPr>
        <p:spPr>
          <a:xfrm>
            <a:off x="9032539" y="2765905"/>
            <a:ext cx="385300" cy="880686"/>
          </a:xfrm>
          <a:custGeom>
            <a:avLst/>
            <a:gdLst>
              <a:gd name="connsiteX0" fmla="*/ 74307 w 385300"/>
              <a:gd name="connsiteY0" fmla="*/ 0 h 880686"/>
              <a:gd name="connsiteX1" fmla="*/ 399061 w 385300"/>
              <a:gd name="connsiteY1" fmla="*/ 330257 h 880686"/>
              <a:gd name="connsiteX2" fmla="*/ 115590 w 385300"/>
              <a:gd name="connsiteY2" fmla="*/ 880686 h 880686"/>
              <a:gd name="connsiteX3" fmla="*/ 0 w 385300"/>
              <a:gd name="connsiteY3" fmla="*/ 880686 h 880686"/>
              <a:gd name="connsiteX4" fmla="*/ 0 w 385300"/>
              <a:gd name="connsiteY4" fmla="*/ 0 h 88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300" h="880686">
                <a:moveTo>
                  <a:pt x="74307" y="0"/>
                </a:moveTo>
                <a:lnTo>
                  <a:pt x="399061" y="330257"/>
                </a:lnTo>
                <a:lnTo>
                  <a:pt x="115590" y="880686"/>
                </a:lnTo>
                <a:lnTo>
                  <a:pt x="0" y="880686"/>
                </a:lnTo>
                <a:lnTo>
                  <a:pt x="0" y="0"/>
                </a:lnTo>
                <a:close/>
              </a:path>
            </a:pathLst>
          </a:custGeom>
          <a:solidFill>
            <a:srgbClr val="CBF060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1" name="iṧḻídê"/>
          <p:cNvSpPr/>
          <p:nvPr/>
        </p:nvSpPr>
        <p:spPr>
          <a:xfrm>
            <a:off x="8290252" y="1629270"/>
            <a:ext cx="990772" cy="1596244"/>
          </a:xfrm>
          <a:custGeom>
            <a:avLst/>
            <a:gdLst>
              <a:gd name="connsiteX0" fmla="*/ 978972 w 990772"/>
              <a:gd name="connsiteY0" fmla="*/ 0 h 1596243"/>
              <a:gd name="connsiteX1" fmla="*/ 505603 w 990772"/>
              <a:gd name="connsiteY1" fmla="*/ 85316 h 1596243"/>
              <a:gd name="connsiteX2" fmla="*/ 32234 w 990772"/>
              <a:gd name="connsiteY2" fmla="*/ 0 h 1596243"/>
              <a:gd name="connsiteX3" fmla="*/ 268919 w 990772"/>
              <a:gd name="connsiteY3" fmla="*/ 1604500 h 1596243"/>
              <a:gd name="connsiteX4" fmla="*/ 505603 w 990772"/>
              <a:gd name="connsiteY4" fmla="*/ 1604500 h 1596243"/>
              <a:gd name="connsiteX5" fmla="*/ 742288 w 990772"/>
              <a:gd name="connsiteY5" fmla="*/ 1604500 h 1596243"/>
              <a:gd name="connsiteX6" fmla="*/ 978972 w 990772"/>
              <a:gd name="connsiteY6" fmla="*/ 0 h 159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0772" h="1596243">
                <a:moveTo>
                  <a:pt x="978972" y="0"/>
                </a:moveTo>
                <a:lnTo>
                  <a:pt x="505603" y="85316"/>
                </a:lnTo>
                <a:lnTo>
                  <a:pt x="32234" y="0"/>
                </a:lnTo>
                <a:cubicBezTo>
                  <a:pt x="-110877" y="935729"/>
                  <a:pt x="268919" y="1604500"/>
                  <a:pt x="268919" y="1604500"/>
                </a:cubicBezTo>
                <a:lnTo>
                  <a:pt x="505603" y="1604500"/>
                </a:lnTo>
                <a:lnTo>
                  <a:pt x="742288" y="1604500"/>
                </a:lnTo>
                <a:cubicBezTo>
                  <a:pt x="742288" y="1607252"/>
                  <a:pt x="1119331" y="935729"/>
                  <a:pt x="978972" y="0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2" name="ïśļîḓé"/>
          <p:cNvSpPr/>
          <p:nvPr/>
        </p:nvSpPr>
        <p:spPr>
          <a:xfrm>
            <a:off x="8322486" y="891695"/>
            <a:ext cx="935729" cy="825643"/>
          </a:xfrm>
          <a:custGeom>
            <a:avLst/>
            <a:gdLst>
              <a:gd name="connsiteX0" fmla="*/ 473369 w 935729"/>
              <a:gd name="connsiteY0" fmla="*/ 0 h 825643"/>
              <a:gd name="connsiteX1" fmla="*/ 0 w 935729"/>
              <a:gd name="connsiteY1" fmla="*/ 737575 h 825643"/>
              <a:gd name="connsiteX2" fmla="*/ 473369 w 935729"/>
              <a:gd name="connsiteY2" fmla="*/ 842156 h 825643"/>
              <a:gd name="connsiteX3" fmla="*/ 946738 w 935729"/>
              <a:gd name="connsiteY3" fmla="*/ 737575 h 825643"/>
              <a:gd name="connsiteX4" fmla="*/ 473369 w 935729"/>
              <a:gd name="connsiteY4" fmla="*/ 0 h 825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5729" h="825643">
                <a:moveTo>
                  <a:pt x="473369" y="0"/>
                </a:moveTo>
                <a:cubicBezTo>
                  <a:pt x="88069" y="288975"/>
                  <a:pt x="0" y="737575"/>
                  <a:pt x="0" y="737575"/>
                </a:cubicBezTo>
                <a:cubicBezTo>
                  <a:pt x="0" y="737575"/>
                  <a:pt x="211915" y="842156"/>
                  <a:pt x="473369" y="842156"/>
                </a:cubicBezTo>
                <a:cubicBezTo>
                  <a:pt x="734823" y="842156"/>
                  <a:pt x="946738" y="737575"/>
                  <a:pt x="946738" y="737575"/>
                </a:cubicBezTo>
                <a:cubicBezTo>
                  <a:pt x="946738" y="737575"/>
                  <a:pt x="858669" y="288975"/>
                  <a:pt x="473369" y="0"/>
                </a:cubicBezTo>
                <a:close/>
              </a:path>
            </a:pathLst>
          </a:custGeom>
          <a:solidFill>
            <a:srgbClr val="CBF060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3" name="ïşḷïḋé"/>
          <p:cNvSpPr/>
          <p:nvPr/>
        </p:nvSpPr>
        <p:spPr>
          <a:xfrm>
            <a:off x="8526145" y="1821920"/>
            <a:ext cx="522907" cy="522907"/>
          </a:xfrm>
          <a:custGeom>
            <a:avLst/>
            <a:gdLst>
              <a:gd name="connsiteX0" fmla="*/ 539420 w 522907"/>
              <a:gd name="connsiteY0" fmla="*/ 269710 h 522907"/>
              <a:gd name="connsiteX1" fmla="*/ 269710 w 522907"/>
              <a:gd name="connsiteY1" fmla="*/ 539420 h 522907"/>
              <a:gd name="connsiteX2" fmla="*/ 1 w 522907"/>
              <a:gd name="connsiteY2" fmla="*/ 269710 h 522907"/>
              <a:gd name="connsiteX3" fmla="*/ 269710 w 522907"/>
              <a:gd name="connsiteY3" fmla="*/ 0 h 522907"/>
              <a:gd name="connsiteX4" fmla="*/ 539420 w 522907"/>
              <a:gd name="connsiteY4" fmla="*/ 269710 h 522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907" h="522907">
                <a:moveTo>
                  <a:pt x="539420" y="269710"/>
                </a:moveTo>
                <a:cubicBezTo>
                  <a:pt x="539420" y="418667"/>
                  <a:pt x="418667" y="539420"/>
                  <a:pt x="269710" y="539420"/>
                </a:cubicBezTo>
                <a:cubicBezTo>
                  <a:pt x="120754" y="539420"/>
                  <a:pt x="1" y="418667"/>
                  <a:pt x="1" y="269710"/>
                </a:cubicBezTo>
                <a:cubicBezTo>
                  <a:pt x="1" y="120753"/>
                  <a:pt x="120754" y="0"/>
                  <a:pt x="269710" y="0"/>
                </a:cubicBezTo>
                <a:cubicBezTo>
                  <a:pt x="418667" y="0"/>
                  <a:pt x="539420" y="120753"/>
                  <a:pt x="539420" y="269710"/>
                </a:cubicBezTo>
                <a:close/>
              </a:path>
            </a:pathLst>
          </a:custGeom>
          <a:solidFill>
            <a:srgbClr val="BFC5F2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4" name="iṩ1ïďè"/>
          <p:cNvSpPr/>
          <p:nvPr/>
        </p:nvSpPr>
        <p:spPr>
          <a:xfrm>
            <a:off x="8526145" y="1794398"/>
            <a:ext cx="522907" cy="522907"/>
          </a:xfrm>
          <a:custGeom>
            <a:avLst/>
            <a:gdLst>
              <a:gd name="connsiteX0" fmla="*/ 539420 w 522907"/>
              <a:gd name="connsiteY0" fmla="*/ 269710 h 522907"/>
              <a:gd name="connsiteX1" fmla="*/ 269710 w 522907"/>
              <a:gd name="connsiteY1" fmla="*/ 539420 h 522907"/>
              <a:gd name="connsiteX2" fmla="*/ 1 w 522907"/>
              <a:gd name="connsiteY2" fmla="*/ 269710 h 522907"/>
              <a:gd name="connsiteX3" fmla="*/ 269710 w 522907"/>
              <a:gd name="connsiteY3" fmla="*/ 0 h 522907"/>
              <a:gd name="connsiteX4" fmla="*/ 539420 w 522907"/>
              <a:gd name="connsiteY4" fmla="*/ 269710 h 522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907" h="522907">
                <a:moveTo>
                  <a:pt x="539420" y="269710"/>
                </a:moveTo>
                <a:cubicBezTo>
                  <a:pt x="539420" y="418667"/>
                  <a:pt x="418667" y="539420"/>
                  <a:pt x="269710" y="539420"/>
                </a:cubicBezTo>
                <a:cubicBezTo>
                  <a:pt x="120754" y="539420"/>
                  <a:pt x="1" y="418667"/>
                  <a:pt x="1" y="269710"/>
                </a:cubicBezTo>
                <a:cubicBezTo>
                  <a:pt x="1" y="120753"/>
                  <a:pt x="120754" y="0"/>
                  <a:pt x="269710" y="0"/>
                </a:cubicBezTo>
                <a:cubicBezTo>
                  <a:pt x="418667" y="0"/>
                  <a:pt x="539420" y="120753"/>
                  <a:pt x="539420" y="269710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5" name="îṡlïḓe"/>
          <p:cNvSpPr/>
          <p:nvPr/>
        </p:nvSpPr>
        <p:spPr>
          <a:xfrm>
            <a:off x="8570179" y="1838433"/>
            <a:ext cx="440343" cy="440343"/>
          </a:xfrm>
          <a:custGeom>
            <a:avLst/>
            <a:gdLst>
              <a:gd name="connsiteX0" fmla="*/ 451351 w 440343"/>
              <a:gd name="connsiteY0" fmla="*/ 225676 h 440343"/>
              <a:gd name="connsiteX1" fmla="*/ 225675 w 440343"/>
              <a:gd name="connsiteY1" fmla="*/ 451352 h 440343"/>
              <a:gd name="connsiteX2" fmla="*/ -1 w 440343"/>
              <a:gd name="connsiteY2" fmla="*/ 225676 h 440343"/>
              <a:gd name="connsiteX3" fmla="*/ 225675 w 440343"/>
              <a:gd name="connsiteY3" fmla="*/ 0 h 440343"/>
              <a:gd name="connsiteX4" fmla="*/ 451351 w 440343"/>
              <a:gd name="connsiteY4" fmla="*/ 225676 h 440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343" h="440343">
                <a:moveTo>
                  <a:pt x="451351" y="225676"/>
                </a:moveTo>
                <a:cubicBezTo>
                  <a:pt x="451351" y="350313"/>
                  <a:pt x="350313" y="451352"/>
                  <a:pt x="225675" y="451352"/>
                </a:cubicBezTo>
                <a:cubicBezTo>
                  <a:pt x="101038" y="451352"/>
                  <a:pt x="-1" y="350313"/>
                  <a:pt x="-1" y="225676"/>
                </a:cubicBezTo>
                <a:cubicBezTo>
                  <a:pt x="-1" y="101039"/>
                  <a:pt x="101038" y="0"/>
                  <a:pt x="225675" y="0"/>
                </a:cubicBezTo>
                <a:cubicBezTo>
                  <a:pt x="350313" y="0"/>
                  <a:pt x="451351" y="101039"/>
                  <a:pt x="451351" y="225676"/>
                </a:cubicBezTo>
                <a:close/>
              </a:path>
            </a:pathLst>
          </a:custGeom>
          <a:solidFill>
            <a:srgbClr val="364459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6" name="ïsļíďê"/>
          <p:cNvSpPr/>
          <p:nvPr/>
        </p:nvSpPr>
        <p:spPr>
          <a:xfrm>
            <a:off x="8572931" y="1863202"/>
            <a:ext cx="440343" cy="412822"/>
          </a:xfrm>
          <a:custGeom>
            <a:avLst/>
            <a:gdLst>
              <a:gd name="connsiteX0" fmla="*/ 222924 w 440343"/>
              <a:gd name="connsiteY0" fmla="*/ 0 h 412821"/>
              <a:gd name="connsiteX1" fmla="*/ 0 w 440343"/>
              <a:gd name="connsiteY1" fmla="*/ 211915 h 412821"/>
              <a:gd name="connsiteX2" fmla="*/ 222924 w 440343"/>
              <a:gd name="connsiteY2" fmla="*/ 423830 h 412821"/>
              <a:gd name="connsiteX3" fmla="*/ 445848 w 440343"/>
              <a:gd name="connsiteY3" fmla="*/ 211915 h 412821"/>
              <a:gd name="connsiteX4" fmla="*/ 222924 w 440343"/>
              <a:gd name="connsiteY4" fmla="*/ 0 h 412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343" h="412821">
                <a:moveTo>
                  <a:pt x="222924" y="0"/>
                </a:moveTo>
                <a:cubicBezTo>
                  <a:pt x="101830" y="0"/>
                  <a:pt x="5505" y="93573"/>
                  <a:pt x="0" y="211915"/>
                </a:cubicBezTo>
                <a:cubicBezTo>
                  <a:pt x="5505" y="330257"/>
                  <a:pt x="104581" y="423830"/>
                  <a:pt x="222924" y="423830"/>
                </a:cubicBezTo>
                <a:cubicBezTo>
                  <a:pt x="344018" y="423830"/>
                  <a:pt x="440343" y="330257"/>
                  <a:pt x="445848" y="211915"/>
                </a:cubicBezTo>
                <a:cubicBezTo>
                  <a:pt x="440343" y="93573"/>
                  <a:pt x="344018" y="0"/>
                  <a:pt x="222924" y="0"/>
                </a:cubicBezTo>
                <a:close/>
              </a:path>
            </a:pathLst>
          </a:custGeom>
          <a:solidFill>
            <a:srgbClr val="526075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7" name="iśļîďé"/>
          <p:cNvSpPr/>
          <p:nvPr/>
        </p:nvSpPr>
        <p:spPr>
          <a:xfrm>
            <a:off x="8570179" y="1841185"/>
            <a:ext cx="412822" cy="330257"/>
          </a:xfrm>
          <a:custGeom>
            <a:avLst/>
            <a:gdLst>
              <a:gd name="connsiteX0" fmla="*/ 225676 w 412821"/>
              <a:gd name="connsiteY0" fmla="*/ 0 h 330257"/>
              <a:gd name="connsiteX1" fmla="*/ 0 w 412821"/>
              <a:gd name="connsiteY1" fmla="*/ 225676 h 330257"/>
              <a:gd name="connsiteX2" fmla="*/ 38530 w 412821"/>
              <a:gd name="connsiteY2" fmla="*/ 349522 h 330257"/>
              <a:gd name="connsiteX3" fmla="*/ 421079 w 412821"/>
              <a:gd name="connsiteY3" fmla="*/ 115590 h 330257"/>
              <a:gd name="connsiteX4" fmla="*/ 225676 w 412821"/>
              <a:gd name="connsiteY4" fmla="*/ 0 h 3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2821" h="330257">
                <a:moveTo>
                  <a:pt x="225676" y="0"/>
                </a:moveTo>
                <a:cubicBezTo>
                  <a:pt x="101830" y="0"/>
                  <a:pt x="0" y="101829"/>
                  <a:pt x="0" y="225676"/>
                </a:cubicBezTo>
                <a:cubicBezTo>
                  <a:pt x="0" y="272462"/>
                  <a:pt x="13761" y="313745"/>
                  <a:pt x="38530" y="349522"/>
                </a:cubicBezTo>
                <a:lnTo>
                  <a:pt x="421079" y="115590"/>
                </a:lnTo>
                <a:cubicBezTo>
                  <a:pt x="382548" y="44034"/>
                  <a:pt x="308241" y="0"/>
                  <a:pt x="225676" y="0"/>
                </a:cubicBezTo>
                <a:close/>
              </a:path>
            </a:pathLst>
          </a:custGeom>
          <a:solidFill>
            <a:srgbClr val="FFFFFF">
              <a:alpha val="20000"/>
            </a:srgbClr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8" name="íSľîḋe"/>
          <p:cNvSpPr/>
          <p:nvPr/>
        </p:nvSpPr>
        <p:spPr>
          <a:xfrm>
            <a:off x="8476606" y="3054881"/>
            <a:ext cx="632993" cy="27521"/>
          </a:xfrm>
          <a:custGeom>
            <a:avLst/>
            <a:gdLst>
              <a:gd name="connsiteX0" fmla="*/ 638498 w 632993"/>
              <a:gd name="connsiteY0" fmla="*/ 0 h 27521"/>
              <a:gd name="connsiteX1" fmla="*/ 0 w 632993"/>
              <a:gd name="connsiteY1" fmla="*/ 0 h 27521"/>
              <a:gd name="connsiteX2" fmla="*/ 11008 w 632993"/>
              <a:gd name="connsiteY2" fmla="*/ 27521 h 27521"/>
              <a:gd name="connsiteX3" fmla="*/ 624737 w 632993"/>
              <a:gd name="connsiteY3" fmla="*/ 27521 h 27521"/>
              <a:gd name="connsiteX4" fmla="*/ 638498 w 632993"/>
              <a:gd name="connsiteY4" fmla="*/ 0 h 275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993" h="27521">
                <a:moveTo>
                  <a:pt x="638498" y="0"/>
                </a:moveTo>
                <a:lnTo>
                  <a:pt x="0" y="0"/>
                </a:lnTo>
                <a:cubicBezTo>
                  <a:pt x="2752" y="8257"/>
                  <a:pt x="8256" y="19265"/>
                  <a:pt x="11008" y="27521"/>
                </a:cubicBezTo>
                <a:lnTo>
                  <a:pt x="624737" y="27521"/>
                </a:lnTo>
                <a:cubicBezTo>
                  <a:pt x="630241" y="19265"/>
                  <a:pt x="632993" y="8257"/>
                  <a:pt x="638498" y="0"/>
                </a:cubicBezTo>
                <a:close/>
              </a:path>
            </a:pathLst>
          </a:custGeom>
          <a:solidFill>
            <a:srgbClr val="BFC5F2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9" name="iṥľîḍé"/>
          <p:cNvSpPr/>
          <p:nvPr/>
        </p:nvSpPr>
        <p:spPr>
          <a:xfrm>
            <a:off x="8416058" y="2878743"/>
            <a:ext cx="743079" cy="27521"/>
          </a:xfrm>
          <a:custGeom>
            <a:avLst/>
            <a:gdLst>
              <a:gd name="connsiteX0" fmla="*/ 0 w 743079"/>
              <a:gd name="connsiteY0" fmla="*/ 0 h 27521"/>
              <a:gd name="connsiteX1" fmla="*/ 8257 w 743079"/>
              <a:gd name="connsiteY1" fmla="*/ 27521 h 27521"/>
              <a:gd name="connsiteX2" fmla="*/ 751336 w 743079"/>
              <a:gd name="connsiteY2" fmla="*/ 27521 h 27521"/>
              <a:gd name="connsiteX3" fmla="*/ 759592 w 743079"/>
              <a:gd name="connsiteY3" fmla="*/ 0 h 27521"/>
              <a:gd name="connsiteX4" fmla="*/ 0 w 743079"/>
              <a:gd name="connsiteY4" fmla="*/ 0 h 275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3079" h="27521">
                <a:moveTo>
                  <a:pt x="0" y="0"/>
                </a:moveTo>
                <a:cubicBezTo>
                  <a:pt x="2752" y="8257"/>
                  <a:pt x="5505" y="19265"/>
                  <a:pt x="8257" y="27521"/>
                </a:cubicBezTo>
                <a:lnTo>
                  <a:pt x="751336" y="27521"/>
                </a:lnTo>
                <a:cubicBezTo>
                  <a:pt x="754088" y="19265"/>
                  <a:pt x="756840" y="8257"/>
                  <a:pt x="759592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BFC5F2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2" name="i$ḷîḓé"/>
          <p:cNvSpPr/>
          <p:nvPr userDrawn="1"/>
        </p:nvSpPr>
        <p:spPr>
          <a:xfrm>
            <a:off x="2603530" y="1210944"/>
            <a:ext cx="880686" cy="330257"/>
          </a:xfrm>
          <a:custGeom>
            <a:avLst/>
            <a:gdLst>
              <a:gd name="connsiteX0" fmla="*/ 0 w 880686"/>
              <a:gd name="connsiteY0" fmla="*/ 305488 h 330257"/>
              <a:gd name="connsiteX1" fmla="*/ 173385 w 880686"/>
              <a:gd name="connsiteY1" fmla="*/ 330257 h 330257"/>
              <a:gd name="connsiteX2" fmla="*/ 294480 w 880686"/>
              <a:gd name="connsiteY2" fmla="*/ 203659 h 330257"/>
              <a:gd name="connsiteX3" fmla="*/ 467865 w 880686"/>
              <a:gd name="connsiteY3" fmla="*/ 228428 h 330257"/>
              <a:gd name="connsiteX4" fmla="*/ 588959 w 880686"/>
              <a:gd name="connsiteY4" fmla="*/ 101829 h 330257"/>
              <a:gd name="connsiteX5" fmla="*/ 762344 w 880686"/>
              <a:gd name="connsiteY5" fmla="*/ 126599 h 330257"/>
              <a:gd name="connsiteX6" fmla="*/ 883438 w 880686"/>
              <a:gd name="connsiteY6" fmla="*/ 0 h 3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0686" h="330257">
                <a:moveTo>
                  <a:pt x="0" y="305488"/>
                </a:moveTo>
                <a:lnTo>
                  <a:pt x="173385" y="330257"/>
                </a:lnTo>
                <a:lnTo>
                  <a:pt x="294480" y="203659"/>
                </a:lnTo>
                <a:lnTo>
                  <a:pt x="467865" y="228428"/>
                </a:lnTo>
                <a:lnTo>
                  <a:pt x="588959" y="101829"/>
                </a:lnTo>
                <a:lnTo>
                  <a:pt x="762344" y="126599"/>
                </a:lnTo>
                <a:lnTo>
                  <a:pt x="883438" y="0"/>
                </a:lnTo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3" name="îşļíďé"/>
          <p:cNvSpPr/>
          <p:nvPr/>
        </p:nvSpPr>
        <p:spPr>
          <a:xfrm>
            <a:off x="11091143" y="302736"/>
            <a:ext cx="825643" cy="412822"/>
          </a:xfrm>
          <a:custGeom>
            <a:avLst/>
            <a:gdLst>
              <a:gd name="connsiteX0" fmla="*/ 0 w 825643"/>
              <a:gd name="connsiteY0" fmla="*/ 0 h 412821"/>
              <a:gd name="connsiteX1" fmla="*/ 101830 w 825643"/>
              <a:gd name="connsiteY1" fmla="*/ 143112 h 412821"/>
              <a:gd name="connsiteX2" fmla="*/ 277967 w 825643"/>
              <a:gd name="connsiteY2" fmla="*/ 145864 h 412821"/>
              <a:gd name="connsiteX3" fmla="*/ 377044 w 825643"/>
              <a:gd name="connsiteY3" fmla="*/ 288975 h 412821"/>
              <a:gd name="connsiteX4" fmla="*/ 553181 w 825643"/>
              <a:gd name="connsiteY4" fmla="*/ 291727 h 412821"/>
              <a:gd name="connsiteX5" fmla="*/ 655010 w 825643"/>
              <a:gd name="connsiteY5" fmla="*/ 434839 h 412821"/>
              <a:gd name="connsiteX6" fmla="*/ 828396 w 825643"/>
              <a:gd name="connsiteY6" fmla="*/ 437591 h 412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25643" h="412821">
                <a:moveTo>
                  <a:pt x="0" y="0"/>
                </a:moveTo>
                <a:lnTo>
                  <a:pt x="101830" y="143112"/>
                </a:lnTo>
                <a:lnTo>
                  <a:pt x="277967" y="145864"/>
                </a:lnTo>
                <a:lnTo>
                  <a:pt x="377044" y="288975"/>
                </a:lnTo>
                <a:lnTo>
                  <a:pt x="553181" y="291727"/>
                </a:lnTo>
                <a:lnTo>
                  <a:pt x="655010" y="434839"/>
                </a:lnTo>
                <a:lnTo>
                  <a:pt x="828396" y="437591"/>
                </a:lnTo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4" name="iś1ïḑê"/>
          <p:cNvSpPr/>
          <p:nvPr/>
        </p:nvSpPr>
        <p:spPr>
          <a:xfrm>
            <a:off x="6745507" y="3330095"/>
            <a:ext cx="137607" cy="137607"/>
          </a:xfrm>
          <a:custGeom>
            <a:avLst/>
            <a:gdLst>
              <a:gd name="connsiteX0" fmla="*/ 137607 w 137607"/>
              <a:gd name="connsiteY0" fmla="*/ 68804 h 137607"/>
              <a:gd name="connsiteX1" fmla="*/ 68804 w 137607"/>
              <a:gd name="connsiteY1" fmla="*/ 137607 h 137607"/>
              <a:gd name="connsiteX2" fmla="*/ 0 w 137607"/>
              <a:gd name="connsiteY2" fmla="*/ 68804 h 137607"/>
              <a:gd name="connsiteX3" fmla="*/ 68804 w 137607"/>
              <a:gd name="connsiteY3" fmla="*/ 0 h 137607"/>
              <a:gd name="connsiteX4" fmla="*/ 137607 w 137607"/>
              <a:gd name="connsiteY4" fmla="*/ 68804 h 137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7607" h="137607">
                <a:moveTo>
                  <a:pt x="137607" y="68804"/>
                </a:moveTo>
                <a:cubicBezTo>
                  <a:pt x="137607" y="106803"/>
                  <a:pt x="106803" y="137607"/>
                  <a:pt x="68804" y="137607"/>
                </a:cubicBezTo>
                <a:cubicBezTo>
                  <a:pt x="30805" y="137607"/>
                  <a:pt x="0" y="106803"/>
                  <a:pt x="0" y="68804"/>
                </a:cubicBezTo>
                <a:cubicBezTo>
                  <a:pt x="0" y="30804"/>
                  <a:pt x="30805" y="0"/>
                  <a:pt x="68804" y="0"/>
                </a:cubicBezTo>
                <a:cubicBezTo>
                  <a:pt x="106803" y="0"/>
                  <a:pt x="137607" y="30804"/>
                  <a:pt x="137607" y="68804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5" name="iṥľíḑê"/>
          <p:cNvSpPr/>
          <p:nvPr userDrawn="1"/>
        </p:nvSpPr>
        <p:spPr>
          <a:xfrm>
            <a:off x="985269" y="927473"/>
            <a:ext cx="82564" cy="82564"/>
          </a:xfrm>
          <a:custGeom>
            <a:avLst/>
            <a:gdLst>
              <a:gd name="connsiteX0" fmla="*/ 104581 w 82564"/>
              <a:gd name="connsiteY0" fmla="*/ 52291 h 82564"/>
              <a:gd name="connsiteX1" fmla="*/ 52291 w 82564"/>
              <a:gd name="connsiteY1" fmla="*/ 104582 h 82564"/>
              <a:gd name="connsiteX2" fmla="*/ 0 w 82564"/>
              <a:gd name="connsiteY2" fmla="*/ 52291 h 82564"/>
              <a:gd name="connsiteX3" fmla="*/ 52291 w 82564"/>
              <a:gd name="connsiteY3" fmla="*/ 0 h 82564"/>
              <a:gd name="connsiteX4" fmla="*/ 104581 w 82564"/>
              <a:gd name="connsiteY4" fmla="*/ 52291 h 82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82564">
                <a:moveTo>
                  <a:pt x="104581" y="52291"/>
                </a:moveTo>
                <a:cubicBezTo>
                  <a:pt x="104581" y="81170"/>
                  <a:pt x="81170" y="104582"/>
                  <a:pt x="52291" y="104582"/>
                </a:cubicBezTo>
                <a:cubicBezTo>
                  <a:pt x="23411" y="104582"/>
                  <a:pt x="0" y="81170"/>
                  <a:pt x="0" y="52291"/>
                </a:cubicBezTo>
                <a:cubicBezTo>
                  <a:pt x="0" y="23411"/>
                  <a:pt x="23411" y="0"/>
                  <a:pt x="52291" y="0"/>
                </a:cubicBezTo>
                <a:cubicBezTo>
                  <a:pt x="81170" y="0"/>
                  <a:pt x="104581" y="23411"/>
                  <a:pt x="104581" y="52291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7" name="iš1iḓe"/>
          <p:cNvSpPr/>
          <p:nvPr/>
        </p:nvSpPr>
        <p:spPr>
          <a:xfrm>
            <a:off x="10675569" y="3365873"/>
            <a:ext cx="192650" cy="192650"/>
          </a:xfrm>
          <a:custGeom>
            <a:avLst/>
            <a:gdLst>
              <a:gd name="connsiteX0" fmla="*/ 192650 w 192650"/>
              <a:gd name="connsiteY0" fmla="*/ 96325 h 192650"/>
              <a:gd name="connsiteX1" fmla="*/ 96325 w 192650"/>
              <a:gd name="connsiteY1" fmla="*/ 192650 h 192650"/>
              <a:gd name="connsiteX2" fmla="*/ 0 w 192650"/>
              <a:gd name="connsiteY2" fmla="*/ 96325 h 192650"/>
              <a:gd name="connsiteX3" fmla="*/ 96325 w 192650"/>
              <a:gd name="connsiteY3" fmla="*/ 0 h 192650"/>
              <a:gd name="connsiteX4" fmla="*/ 192650 w 192650"/>
              <a:gd name="connsiteY4" fmla="*/ 96325 h 192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650" h="192650">
                <a:moveTo>
                  <a:pt x="192650" y="96325"/>
                </a:moveTo>
                <a:cubicBezTo>
                  <a:pt x="192650" y="149524"/>
                  <a:pt x="149523" y="192650"/>
                  <a:pt x="96325" y="192650"/>
                </a:cubicBezTo>
                <a:cubicBezTo>
                  <a:pt x="43126" y="192650"/>
                  <a:pt x="0" y="149524"/>
                  <a:pt x="0" y="96325"/>
                </a:cubicBezTo>
                <a:cubicBezTo>
                  <a:pt x="0" y="43126"/>
                  <a:pt x="43126" y="0"/>
                  <a:pt x="96325" y="0"/>
                </a:cubicBezTo>
                <a:cubicBezTo>
                  <a:pt x="149523" y="0"/>
                  <a:pt x="192650" y="43126"/>
                  <a:pt x="192650" y="96325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8" name="îṡḷiḍé"/>
          <p:cNvSpPr/>
          <p:nvPr userDrawn="1"/>
        </p:nvSpPr>
        <p:spPr>
          <a:xfrm>
            <a:off x="5220819" y="1177918"/>
            <a:ext cx="467865" cy="467865"/>
          </a:xfrm>
          <a:custGeom>
            <a:avLst/>
            <a:gdLst>
              <a:gd name="connsiteX0" fmla="*/ 478873 w 467864"/>
              <a:gd name="connsiteY0" fmla="*/ 239437 h 467864"/>
              <a:gd name="connsiteX1" fmla="*/ 239437 w 467864"/>
              <a:gd name="connsiteY1" fmla="*/ 478873 h 467864"/>
              <a:gd name="connsiteX2" fmla="*/ 0 w 467864"/>
              <a:gd name="connsiteY2" fmla="*/ 239437 h 467864"/>
              <a:gd name="connsiteX3" fmla="*/ 239437 w 467864"/>
              <a:gd name="connsiteY3" fmla="*/ 0 h 467864"/>
              <a:gd name="connsiteX4" fmla="*/ 478873 w 467864"/>
              <a:gd name="connsiteY4" fmla="*/ 239437 h 46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7864" h="467864">
                <a:moveTo>
                  <a:pt x="478873" y="239437"/>
                </a:moveTo>
                <a:cubicBezTo>
                  <a:pt x="478873" y="371674"/>
                  <a:pt x="371674" y="478873"/>
                  <a:pt x="239437" y="478873"/>
                </a:cubicBezTo>
                <a:cubicBezTo>
                  <a:pt x="107200" y="478873"/>
                  <a:pt x="0" y="371674"/>
                  <a:pt x="0" y="239437"/>
                </a:cubicBezTo>
                <a:cubicBezTo>
                  <a:pt x="0" y="107199"/>
                  <a:pt x="107200" y="0"/>
                  <a:pt x="239437" y="0"/>
                </a:cubicBezTo>
                <a:cubicBezTo>
                  <a:pt x="371674" y="0"/>
                  <a:pt x="478873" y="107199"/>
                  <a:pt x="478873" y="239437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9" name="iṣļïďe"/>
          <p:cNvSpPr/>
          <p:nvPr/>
        </p:nvSpPr>
        <p:spPr>
          <a:xfrm>
            <a:off x="9880200" y="1312773"/>
            <a:ext cx="110086" cy="27521"/>
          </a:xfrm>
          <a:custGeom>
            <a:avLst/>
            <a:gdLst>
              <a:gd name="connsiteX0" fmla="*/ 0 w 110085"/>
              <a:gd name="connsiteY0" fmla="*/ 0 h 0"/>
              <a:gd name="connsiteX1" fmla="*/ 126599 w 11008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0085">
                <a:moveTo>
                  <a:pt x="0" y="0"/>
                </a:moveTo>
                <a:lnTo>
                  <a:pt x="126599" y="0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0" name="išlïḑe"/>
          <p:cNvSpPr/>
          <p:nvPr/>
        </p:nvSpPr>
        <p:spPr>
          <a:xfrm>
            <a:off x="9943499" y="1249474"/>
            <a:ext cx="27521" cy="110086"/>
          </a:xfrm>
          <a:custGeom>
            <a:avLst/>
            <a:gdLst>
              <a:gd name="connsiteX0" fmla="*/ 0 w 0"/>
              <a:gd name="connsiteY0" fmla="*/ 0 h 110085"/>
              <a:gd name="connsiteX1" fmla="*/ 0 w 0"/>
              <a:gd name="connsiteY1" fmla="*/ 126599 h 11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10085">
                <a:moveTo>
                  <a:pt x="0" y="0"/>
                </a:moveTo>
                <a:lnTo>
                  <a:pt x="0" y="126599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1" name="iṩḻîḍê"/>
          <p:cNvSpPr/>
          <p:nvPr userDrawn="1"/>
        </p:nvSpPr>
        <p:spPr>
          <a:xfrm>
            <a:off x="7070260" y="632993"/>
            <a:ext cx="110086" cy="27521"/>
          </a:xfrm>
          <a:custGeom>
            <a:avLst/>
            <a:gdLst>
              <a:gd name="connsiteX0" fmla="*/ 0 w 110085"/>
              <a:gd name="connsiteY0" fmla="*/ 0 h 0"/>
              <a:gd name="connsiteX1" fmla="*/ 126599 w 11008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0085">
                <a:moveTo>
                  <a:pt x="0" y="0"/>
                </a:moveTo>
                <a:lnTo>
                  <a:pt x="126599" y="0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2" name="iŝḷïḍê"/>
          <p:cNvSpPr/>
          <p:nvPr userDrawn="1"/>
        </p:nvSpPr>
        <p:spPr>
          <a:xfrm>
            <a:off x="7133559" y="569694"/>
            <a:ext cx="27521" cy="110086"/>
          </a:xfrm>
          <a:custGeom>
            <a:avLst/>
            <a:gdLst>
              <a:gd name="connsiteX0" fmla="*/ 0 w 0"/>
              <a:gd name="connsiteY0" fmla="*/ 0 h 110085"/>
              <a:gd name="connsiteX1" fmla="*/ 0 w 0"/>
              <a:gd name="connsiteY1" fmla="*/ 123847 h 11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10085">
                <a:moveTo>
                  <a:pt x="0" y="0"/>
                </a:moveTo>
                <a:lnTo>
                  <a:pt x="0" y="123847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3" name="îṥlíḓè"/>
          <p:cNvSpPr/>
          <p:nvPr/>
        </p:nvSpPr>
        <p:spPr>
          <a:xfrm>
            <a:off x="10152662" y="2691598"/>
            <a:ext cx="440343" cy="440343"/>
          </a:xfrm>
          <a:custGeom>
            <a:avLst/>
            <a:gdLst>
              <a:gd name="connsiteX0" fmla="*/ 162376 w 440343"/>
              <a:gd name="connsiteY0" fmla="*/ 443095 h 440343"/>
              <a:gd name="connsiteX1" fmla="*/ 0 w 440343"/>
              <a:gd name="connsiteY1" fmla="*/ 162376 h 440343"/>
              <a:gd name="connsiteX2" fmla="*/ 280719 w 440343"/>
              <a:gd name="connsiteY2" fmla="*/ 0 h 440343"/>
              <a:gd name="connsiteX3" fmla="*/ 443095 w 440343"/>
              <a:gd name="connsiteY3" fmla="*/ 280719 h 440343"/>
              <a:gd name="connsiteX4" fmla="*/ 162376 w 440343"/>
              <a:gd name="connsiteY4" fmla="*/ 443095 h 440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343" h="440343">
                <a:moveTo>
                  <a:pt x="162376" y="443095"/>
                </a:moveTo>
                <a:cubicBezTo>
                  <a:pt x="214668" y="239437"/>
                  <a:pt x="203659" y="217419"/>
                  <a:pt x="0" y="162376"/>
                </a:cubicBezTo>
                <a:cubicBezTo>
                  <a:pt x="203659" y="214667"/>
                  <a:pt x="225676" y="203659"/>
                  <a:pt x="280719" y="0"/>
                </a:cubicBezTo>
                <a:cubicBezTo>
                  <a:pt x="228429" y="203659"/>
                  <a:pt x="239437" y="225676"/>
                  <a:pt x="443095" y="280719"/>
                </a:cubicBezTo>
                <a:cubicBezTo>
                  <a:pt x="236685" y="228428"/>
                  <a:pt x="217419" y="239437"/>
                  <a:pt x="162376" y="443095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4" name="ïSḻíḑê"/>
          <p:cNvSpPr/>
          <p:nvPr userDrawn="1"/>
        </p:nvSpPr>
        <p:spPr>
          <a:xfrm>
            <a:off x="3385139" y="1981544"/>
            <a:ext cx="275214" cy="275214"/>
          </a:xfrm>
          <a:custGeom>
            <a:avLst/>
            <a:gdLst>
              <a:gd name="connsiteX0" fmla="*/ 220172 w 275214"/>
              <a:gd name="connsiteY0" fmla="*/ 277967 h 275214"/>
              <a:gd name="connsiteX1" fmla="*/ 0 w 275214"/>
              <a:gd name="connsiteY1" fmla="*/ 220172 h 275214"/>
              <a:gd name="connsiteX2" fmla="*/ 57795 w 275214"/>
              <a:gd name="connsiteY2" fmla="*/ 0 h 275214"/>
              <a:gd name="connsiteX3" fmla="*/ 277967 w 275214"/>
              <a:gd name="connsiteY3" fmla="*/ 57795 h 275214"/>
              <a:gd name="connsiteX4" fmla="*/ 220172 w 275214"/>
              <a:gd name="connsiteY4" fmla="*/ 277967 h 275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5214" h="275214">
                <a:moveTo>
                  <a:pt x="220172" y="277967"/>
                </a:moveTo>
                <a:cubicBezTo>
                  <a:pt x="145864" y="148616"/>
                  <a:pt x="129351" y="145864"/>
                  <a:pt x="0" y="220172"/>
                </a:cubicBezTo>
                <a:cubicBezTo>
                  <a:pt x="129351" y="145864"/>
                  <a:pt x="132103" y="129351"/>
                  <a:pt x="57795" y="0"/>
                </a:cubicBezTo>
                <a:cubicBezTo>
                  <a:pt x="132103" y="129351"/>
                  <a:pt x="148616" y="132103"/>
                  <a:pt x="277967" y="57795"/>
                </a:cubicBezTo>
                <a:cubicBezTo>
                  <a:pt x="151368" y="134855"/>
                  <a:pt x="145864" y="151368"/>
                  <a:pt x="220172" y="277967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5" name="í$ļíḋé"/>
          <p:cNvSpPr/>
          <p:nvPr userDrawn="1"/>
        </p:nvSpPr>
        <p:spPr>
          <a:xfrm>
            <a:off x="6096001" y="1447628"/>
            <a:ext cx="1431115" cy="1431115"/>
          </a:xfrm>
          <a:custGeom>
            <a:avLst/>
            <a:gdLst>
              <a:gd name="connsiteX0" fmla="*/ 1436620 w 1431115"/>
              <a:gd name="connsiteY0" fmla="*/ 718310 h 1431115"/>
              <a:gd name="connsiteX1" fmla="*/ 718310 w 1431115"/>
              <a:gd name="connsiteY1" fmla="*/ 1436619 h 1431115"/>
              <a:gd name="connsiteX2" fmla="*/ 0 w 1431115"/>
              <a:gd name="connsiteY2" fmla="*/ 718310 h 1431115"/>
              <a:gd name="connsiteX3" fmla="*/ 718310 w 1431115"/>
              <a:gd name="connsiteY3" fmla="*/ 0 h 1431115"/>
              <a:gd name="connsiteX4" fmla="*/ 1436620 w 1431115"/>
              <a:gd name="connsiteY4" fmla="*/ 718310 h 14311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31115" h="1431115">
                <a:moveTo>
                  <a:pt x="1436620" y="718310"/>
                </a:moveTo>
                <a:cubicBezTo>
                  <a:pt x="1436620" y="1115021"/>
                  <a:pt x="1115022" y="1436619"/>
                  <a:pt x="718310" y="1436619"/>
                </a:cubicBezTo>
                <a:cubicBezTo>
                  <a:pt x="321599" y="1436619"/>
                  <a:pt x="0" y="1115021"/>
                  <a:pt x="0" y="718310"/>
                </a:cubicBezTo>
                <a:cubicBezTo>
                  <a:pt x="0" y="321598"/>
                  <a:pt x="321598" y="0"/>
                  <a:pt x="718310" y="0"/>
                </a:cubicBezTo>
                <a:cubicBezTo>
                  <a:pt x="1115022" y="0"/>
                  <a:pt x="1436620" y="321598"/>
                  <a:pt x="1436620" y="718310"/>
                </a:cubicBezTo>
                <a:close/>
              </a:path>
            </a:pathLst>
          </a:custGeom>
          <a:solidFill>
            <a:srgbClr val="FFFFFF">
              <a:alpha val="10000"/>
            </a:srgbClr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6" name="îśliďe"/>
          <p:cNvSpPr/>
          <p:nvPr userDrawn="1"/>
        </p:nvSpPr>
        <p:spPr>
          <a:xfrm>
            <a:off x="6310668" y="1662295"/>
            <a:ext cx="990772" cy="990772"/>
          </a:xfrm>
          <a:custGeom>
            <a:avLst/>
            <a:gdLst>
              <a:gd name="connsiteX0" fmla="*/ 1007285 w 990772"/>
              <a:gd name="connsiteY0" fmla="*/ 503642 h 990772"/>
              <a:gd name="connsiteX1" fmla="*/ 503642 w 990772"/>
              <a:gd name="connsiteY1" fmla="*/ 1007285 h 990772"/>
              <a:gd name="connsiteX2" fmla="*/ 0 w 990772"/>
              <a:gd name="connsiteY2" fmla="*/ 503642 h 990772"/>
              <a:gd name="connsiteX3" fmla="*/ 503642 w 990772"/>
              <a:gd name="connsiteY3" fmla="*/ 0 h 990772"/>
              <a:gd name="connsiteX4" fmla="*/ 1007285 w 990772"/>
              <a:gd name="connsiteY4" fmla="*/ 503642 h 990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772" h="990772">
                <a:moveTo>
                  <a:pt x="1007285" y="503642"/>
                </a:moveTo>
                <a:cubicBezTo>
                  <a:pt x="1007285" y="781796"/>
                  <a:pt x="781797" y="1007285"/>
                  <a:pt x="503642" y="1007285"/>
                </a:cubicBezTo>
                <a:cubicBezTo>
                  <a:pt x="225488" y="1007285"/>
                  <a:pt x="0" y="781796"/>
                  <a:pt x="0" y="503642"/>
                </a:cubicBezTo>
                <a:cubicBezTo>
                  <a:pt x="0" y="225488"/>
                  <a:pt x="225488" y="0"/>
                  <a:pt x="503642" y="0"/>
                </a:cubicBezTo>
                <a:cubicBezTo>
                  <a:pt x="781796" y="0"/>
                  <a:pt x="1007285" y="225488"/>
                  <a:pt x="1007285" y="503642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7" name="í$ḻïďé"/>
          <p:cNvSpPr/>
          <p:nvPr userDrawn="1"/>
        </p:nvSpPr>
        <p:spPr>
          <a:xfrm>
            <a:off x="7116945" y="2102134"/>
            <a:ext cx="165129" cy="192650"/>
          </a:xfrm>
          <a:custGeom>
            <a:avLst/>
            <a:gdLst>
              <a:gd name="connsiteX0" fmla="*/ 102698 w 165128"/>
              <a:gd name="connsiteY0" fmla="*/ 12515 h 192650"/>
              <a:gd name="connsiteX1" fmla="*/ 152831 w 165128"/>
              <a:gd name="connsiteY1" fmla="*/ 119747 h 192650"/>
              <a:gd name="connsiteX2" fmla="*/ 67655 w 165128"/>
              <a:gd name="connsiteY2" fmla="*/ 201948 h 192650"/>
              <a:gd name="connsiteX3" fmla="*/ 17522 w 165128"/>
              <a:gd name="connsiteY3" fmla="*/ 94716 h 192650"/>
              <a:gd name="connsiteX4" fmla="*/ 102698 w 165128"/>
              <a:gd name="connsiteY4" fmla="*/ 12515 h 192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5128" h="192650">
                <a:moveTo>
                  <a:pt x="102698" y="12515"/>
                </a:moveTo>
                <a:cubicBezTo>
                  <a:pt x="140062" y="19427"/>
                  <a:pt x="162508" y="67437"/>
                  <a:pt x="152831" y="119747"/>
                </a:cubicBezTo>
                <a:cubicBezTo>
                  <a:pt x="143154" y="172057"/>
                  <a:pt x="105019" y="208860"/>
                  <a:pt x="67655" y="201948"/>
                </a:cubicBezTo>
                <a:cubicBezTo>
                  <a:pt x="30290" y="195036"/>
                  <a:pt x="7845" y="147026"/>
                  <a:pt x="17522" y="94716"/>
                </a:cubicBezTo>
                <a:cubicBezTo>
                  <a:pt x="27198" y="42406"/>
                  <a:pt x="65333" y="5603"/>
                  <a:pt x="102698" y="12515"/>
                </a:cubicBezTo>
                <a:close/>
              </a:path>
            </a:pathLst>
          </a:custGeom>
          <a:solidFill>
            <a:srgbClr val="CBD1F2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8" name="iślîḋè"/>
          <p:cNvSpPr/>
          <p:nvPr userDrawn="1"/>
        </p:nvSpPr>
        <p:spPr>
          <a:xfrm>
            <a:off x="7143999" y="2319474"/>
            <a:ext cx="110086" cy="110086"/>
          </a:xfrm>
          <a:custGeom>
            <a:avLst/>
            <a:gdLst>
              <a:gd name="connsiteX0" fmla="*/ 86162 w 110085"/>
              <a:gd name="connsiteY0" fmla="*/ 20533 h 110085"/>
              <a:gd name="connsiteX1" fmla="*/ 87035 w 110085"/>
              <a:gd name="connsiteY1" fmla="*/ 81638 h 110085"/>
              <a:gd name="connsiteX2" fmla="*/ 29302 w 110085"/>
              <a:gd name="connsiteY2" fmla="*/ 101677 h 110085"/>
              <a:gd name="connsiteX3" fmla="*/ 28430 w 110085"/>
              <a:gd name="connsiteY3" fmla="*/ 40572 h 110085"/>
              <a:gd name="connsiteX4" fmla="*/ 86162 w 110085"/>
              <a:gd name="connsiteY4" fmla="*/ 20533 h 11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085" h="110085">
                <a:moveTo>
                  <a:pt x="86162" y="20533"/>
                </a:moveTo>
                <a:cubicBezTo>
                  <a:pt x="102346" y="31873"/>
                  <a:pt x="102736" y="59230"/>
                  <a:pt x="87035" y="81638"/>
                </a:cubicBezTo>
                <a:cubicBezTo>
                  <a:pt x="71333" y="104045"/>
                  <a:pt x="45486" y="113017"/>
                  <a:pt x="29302" y="101677"/>
                </a:cubicBezTo>
                <a:cubicBezTo>
                  <a:pt x="13119" y="90337"/>
                  <a:pt x="12729" y="62979"/>
                  <a:pt x="28430" y="40572"/>
                </a:cubicBezTo>
                <a:cubicBezTo>
                  <a:pt x="44132" y="18164"/>
                  <a:pt x="69979" y="9193"/>
                  <a:pt x="86162" y="20533"/>
                </a:cubicBezTo>
                <a:close/>
              </a:path>
            </a:pathLst>
          </a:custGeom>
          <a:solidFill>
            <a:srgbClr val="CBD1F2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9" name="ïŝ1îďé"/>
          <p:cNvSpPr/>
          <p:nvPr userDrawn="1"/>
        </p:nvSpPr>
        <p:spPr>
          <a:xfrm>
            <a:off x="7004544" y="2289928"/>
            <a:ext cx="137607" cy="165129"/>
          </a:xfrm>
          <a:custGeom>
            <a:avLst/>
            <a:gdLst>
              <a:gd name="connsiteX0" fmla="*/ 117309 w 137607"/>
              <a:gd name="connsiteY0" fmla="*/ 26860 h 165128"/>
              <a:gd name="connsiteX1" fmla="*/ 116117 w 137607"/>
              <a:gd name="connsiteY1" fmla="*/ 110057 h 165128"/>
              <a:gd name="connsiteX2" fmla="*/ 38308 w 137607"/>
              <a:gd name="connsiteY2" fmla="*/ 139533 h 165128"/>
              <a:gd name="connsiteX3" fmla="*/ 39500 w 137607"/>
              <a:gd name="connsiteY3" fmla="*/ 56337 h 165128"/>
              <a:gd name="connsiteX4" fmla="*/ 117309 w 137607"/>
              <a:gd name="connsiteY4" fmla="*/ 26860 h 165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7607" h="165128">
                <a:moveTo>
                  <a:pt x="117309" y="26860"/>
                </a:moveTo>
                <a:cubicBezTo>
                  <a:pt x="138466" y="41695"/>
                  <a:pt x="137933" y="78943"/>
                  <a:pt x="116117" y="110057"/>
                </a:cubicBezTo>
                <a:cubicBezTo>
                  <a:pt x="94302" y="141170"/>
                  <a:pt x="59466" y="154368"/>
                  <a:pt x="38308" y="139533"/>
                </a:cubicBezTo>
                <a:cubicBezTo>
                  <a:pt x="17151" y="124699"/>
                  <a:pt x="17685" y="87450"/>
                  <a:pt x="39500" y="56337"/>
                </a:cubicBezTo>
                <a:cubicBezTo>
                  <a:pt x="61315" y="25223"/>
                  <a:pt x="96152" y="12026"/>
                  <a:pt x="117309" y="26860"/>
                </a:cubicBezTo>
                <a:close/>
              </a:path>
            </a:pathLst>
          </a:custGeom>
          <a:solidFill>
            <a:srgbClr val="CBD1F2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0" name="iṧḻïḋè"/>
          <p:cNvSpPr/>
          <p:nvPr/>
        </p:nvSpPr>
        <p:spPr>
          <a:xfrm>
            <a:off x="10626031" y="1417355"/>
            <a:ext cx="825643" cy="825643"/>
          </a:xfrm>
          <a:custGeom>
            <a:avLst/>
            <a:gdLst>
              <a:gd name="connsiteX0" fmla="*/ 847660 w 825643"/>
              <a:gd name="connsiteY0" fmla="*/ 423830 h 825643"/>
              <a:gd name="connsiteX1" fmla="*/ 423830 w 825643"/>
              <a:gd name="connsiteY1" fmla="*/ 847661 h 825643"/>
              <a:gd name="connsiteX2" fmla="*/ 0 w 825643"/>
              <a:gd name="connsiteY2" fmla="*/ 423830 h 825643"/>
              <a:gd name="connsiteX3" fmla="*/ 423830 w 825643"/>
              <a:gd name="connsiteY3" fmla="*/ 0 h 825643"/>
              <a:gd name="connsiteX4" fmla="*/ 847660 w 825643"/>
              <a:gd name="connsiteY4" fmla="*/ 423830 h 825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3" h="825643">
                <a:moveTo>
                  <a:pt x="847660" y="423830"/>
                </a:moveTo>
                <a:cubicBezTo>
                  <a:pt x="847660" y="657905"/>
                  <a:pt x="657905" y="847661"/>
                  <a:pt x="423830" y="847661"/>
                </a:cubicBezTo>
                <a:cubicBezTo>
                  <a:pt x="189755" y="847661"/>
                  <a:pt x="0" y="657905"/>
                  <a:pt x="0" y="423830"/>
                </a:cubicBezTo>
                <a:cubicBezTo>
                  <a:pt x="0" y="189755"/>
                  <a:pt x="189755" y="0"/>
                  <a:pt x="423830" y="0"/>
                </a:cubicBezTo>
                <a:cubicBezTo>
                  <a:pt x="657905" y="0"/>
                  <a:pt x="847660" y="189755"/>
                  <a:pt x="847660" y="423830"/>
                </a:cubicBezTo>
                <a:close/>
              </a:path>
            </a:pathLst>
          </a:custGeom>
          <a:solidFill>
            <a:srgbClr val="FFC72B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1" name="iŝľiḋe"/>
          <p:cNvSpPr/>
          <p:nvPr/>
        </p:nvSpPr>
        <p:spPr>
          <a:xfrm>
            <a:off x="10689330" y="1857698"/>
            <a:ext cx="770600" cy="302736"/>
          </a:xfrm>
          <a:custGeom>
            <a:avLst/>
            <a:gdLst>
              <a:gd name="connsiteX0" fmla="*/ 754087 w 770600"/>
              <a:gd name="connsiteY0" fmla="*/ 137607 h 302735"/>
              <a:gd name="connsiteX1" fmla="*/ 784361 w 770600"/>
              <a:gd name="connsiteY1" fmla="*/ 0 h 302735"/>
              <a:gd name="connsiteX2" fmla="*/ 401813 w 770600"/>
              <a:gd name="connsiteY2" fmla="*/ 137607 h 302735"/>
              <a:gd name="connsiteX3" fmla="*/ 0 w 770600"/>
              <a:gd name="connsiteY3" fmla="*/ 203659 h 302735"/>
              <a:gd name="connsiteX4" fmla="*/ 93573 w 770600"/>
              <a:gd name="connsiteY4" fmla="*/ 308240 h 302735"/>
              <a:gd name="connsiteX5" fmla="*/ 429335 w 770600"/>
              <a:gd name="connsiteY5" fmla="*/ 244941 h 302735"/>
              <a:gd name="connsiteX6" fmla="*/ 754087 w 770600"/>
              <a:gd name="connsiteY6" fmla="*/ 137607 h 302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70600" h="302735">
                <a:moveTo>
                  <a:pt x="754087" y="137607"/>
                </a:moveTo>
                <a:cubicBezTo>
                  <a:pt x="770600" y="93573"/>
                  <a:pt x="781609" y="49539"/>
                  <a:pt x="784361" y="0"/>
                </a:cubicBezTo>
                <a:cubicBezTo>
                  <a:pt x="690788" y="49539"/>
                  <a:pt x="555934" y="99077"/>
                  <a:pt x="401813" y="137607"/>
                </a:cubicBezTo>
                <a:cubicBezTo>
                  <a:pt x="250445" y="176137"/>
                  <a:pt x="107333" y="198154"/>
                  <a:pt x="0" y="203659"/>
                </a:cubicBezTo>
                <a:cubicBezTo>
                  <a:pt x="24769" y="244941"/>
                  <a:pt x="55043" y="277967"/>
                  <a:pt x="93573" y="308240"/>
                </a:cubicBezTo>
                <a:cubicBezTo>
                  <a:pt x="195402" y="297232"/>
                  <a:pt x="310993" y="275214"/>
                  <a:pt x="429335" y="244941"/>
                </a:cubicBezTo>
                <a:cubicBezTo>
                  <a:pt x="547677" y="214667"/>
                  <a:pt x="657762" y="176137"/>
                  <a:pt x="754087" y="137607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2" name="îṣļïdé"/>
          <p:cNvSpPr/>
          <p:nvPr/>
        </p:nvSpPr>
        <p:spPr>
          <a:xfrm>
            <a:off x="10318615" y="1561383"/>
            <a:ext cx="1458637" cy="550429"/>
          </a:xfrm>
          <a:custGeom>
            <a:avLst/>
            <a:gdLst>
              <a:gd name="connsiteX0" fmla="*/ 1055999 w 1458636"/>
              <a:gd name="connsiteY0" fmla="*/ 7339 h 550428"/>
              <a:gd name="connsiteX1" fmla="*/ 1089025 w 1458636"/>
              <a:gd name="connsiteY1" fmla="*/ 54126 h 550428"/>
              <a:gd name="connsiteX2" fmla="*/ 1281675 w 1458636"/>
              <a:gd name="connsiteY2" fmla="*/ 100912 h 550428"/>
              <a:gd name="connsiteX3" fmla="*/ 756015 w 1458636"/>
              <a:gd name="connsiteY3" fmla="*/ 373374 h 550428"/>
              <a:gd name="connsiteX4" fmla="*/ 164304 w 1458636"/>
              <a:gd name="connsiteY4" fmla="*/ 392639 h 550428"/>
              <a:gd name="connsiteX5" fmla="*/ 307416 w 1458636"/>
              <a:gd name="connsiteY5" fmla="*/ 257784 h 550428"/>
              <a:gd name="connsiteX6" fmla="*/ 315672 w 1458636"/>
              <a:gd name="connsiteY6" fmla="*/ 199989 h 550428"/>
              <a:gd name="connsiteX7" fmla="*/ 1928 w 1458636"/>
              <a:gd name="connsiteY7" fmla="*/ 469699 h 550428"/>
              <a:gd name="connsiteX8" fmla="*/ 783537 w 1458636"/>
              <a:gd name="connsiteY8" fmla="*/ 483460 h 550428"/>
              <a:gd name="connsiteX9" fmla="*/ 1460564 w 1458636"/>
              <a:gd name="connsiteY9" fmla="*/ 89903 h 550428"/>
              <a:gd name="connsiteX10" fmla="*/ 1055999 w 1458636"/>
              <a:gd name="connsiteY10" fmla="*/ 7339 h 550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458636" h="550428">
                <a:moveTo>
                  <a:pt x="1055999" y="7339"/>
                </a:moveTo>
                <a:cubicBezTo>
                  <a:pt x="1069760" y="21100"/>
                  <a:pt x="1080769" y="37613"/>
                  <a:pt x="1089025" y="54126"/>
                </a:cubicBezTo>
                <a:cubicBezTo>
                  <a:pt x="1199111" y="51373"/>
                  <a:pt x="1270667" y="65134"/>
                  <a:pt x="1281675" y="100912"/>
                </a:cubicBezTo>
                <a:cubicBezTo>
                  <a:pt x="1300940" y="172468"/>
                  <a:pt x="1064256" y="293562"/>
                  <a:pt x="756015" y="373374"/>
                </a:cubicBezTo>
                <a:cubicBezTo>
                  <a:pt x="447776" y="453186"/>
                  <a:pt x="183570" y="461443"/>
                  <a:pt x="164304" y="392639"/>
                </a:cubicBezTo>
                <a:cubicBezTo>
                  <a:pt x="156048" y="356861"/>
                  <a:pt x="211091" y="307323"/>
                  <a:pt x="307416" y="257784"/>
                </a:cubicBezTo>
                <a:cubicBezTo>
                  <a:pt x="307416" y="238519"/>
                  <a:pt x="310168" y="219254"/>
                  <a:pt x="315672" y="199989"/>
                </a:cubicBezTo>
                <a:cubicBezTo>
                  <a:pt x="109261" y="290810"/>
                  <a:pt x="-17337" y="392639"/>
                  <a:pt x="1928" y="469699"/>
                </a:cubicBezTo>
                <a:cubicBezTo>
                  <a:pt x="32202" y="582537"/>
                  <a:pt x="381723" y="588042"/>
                  <a:pt x="783537" y="483460"/>
                </a:cubicBezTo>
                <a:cubicBezTo>
                  <a:pt x="1188102" y="376126"/>
                  <a:pt x="1490838" y="199989"/>
                  <a:pt x="1460564" y="89903"/>
                </a:cubicBezTo>
                <a:cubicBezTo>
                  <a:pt x="1441299" y="12843"/>
                  <a:pt x="1278923" y="-14678"/>
                  <a:pt x="1055999" y="7339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3" name="îş1iḋè"/>
          <p:cNvSpPr/>
          <p:nvPr/>
        </p:nvSpPr>
        <p:spPr>
          <a:xfrm>
            <a:off x="11087871" y="1451417"/>
            <a:ext cx="220172" cy="220172"/>
          </a:xfrm>
          <a:custGeom>
            <a:avLst/>
            <a:gdLst>
              <a:gd name="connsiteX0" fmla="*/ 160664 w 220171"/>
              <a:gd name="connsiteY0" fmla="*/ 59365 h 220171"/>
              <a:gd name="connsiteX1" fmla="*/ 194116 w 220171"/>
              <a:gd name="connsiteY1" fmla="*/ 172913 h 220171"/>
              <a:gd name="connsiteX2" fmla="*/ 75856 w 220171"/>
              <a:gd name="connsiteY2" fmla="*/ 167731 h 220171"/>
              <a:gd name="connsiteX3" fmla="*/ 42404 w 220171"/>
              <a:gd name="connsiteY3" fmla="*/ 54183 h 220171"/>
              <a:gd name="connsiteX4" fmla="*/ 160664 w 220171"/>
              <a:gd name="connsiteY4" fmla="*/ 59365 h 220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171" h="220171">
                <a:moveTo>
                  <a:pt x="160664" y="59365"/>
                </a:moveTo>
                <a:cubicBezTo>
                  <a:pt x="202558" y="92151"/>
                  <a:pt x="217535" y="142989"/>
                  <a:pt x="194116" y="172913"/>
                </a:cubicBezTo>
                <a:cubicBezTo>
                  <a:pt x="170697" y="202837"/>
                  <a:pt x="117750" y="200517"/>
                  <a:pt x="75856" y="167731"/>
                </a:cubicBezTo>
                <a:cubicBezTo>
                  <a:pt x="33962" y="134944"/>
                  <a:pt x="18985" y="84107"/>
                  <a:pt x="42404" y="54183"/>
                </a:cubicBezTo>
                <a:cubicBezTo>
                  <a:pt x="65823" y="24258"/>
                  <a:pt x="118769" y="26578"/>
                  <a:pt x="160664" y="59365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4" name="ïṥḻíḑè"/>
          <p:cNvSpPr/>
          <p:nvPr/>
        </p:nvSpPr>
        <p:spPr>
          <a:xfrm>
            <a:off x="11303251" y="1585819"/>
            <a:ext cx="82564" cy="110086"/>
          </a:xfrm>
          <a:custGeom>
            <a:avLst/>
            <a:gdLst>
              <a:gd name="connsiteX0" fmla="*/ 86328 w 82564"/>
              <a:gd name="connsiteY0" fmla="*/ 43965 h 110085"/>
              <a:gd name="connsiteX1" fmla="*/ 77398 w 82564"/>
              <a:gd name="connsiteY1" fmla="*/ 104414 h 110085"/>
              <a:gd name="connsiteX2" fmla="*/ 22823 w 82564"/>
              <a:gd name="connsiteY2" fmla="*/ 76931 h 110085"/>
              <a:gd name="connsiteX3" fmla="*/ 31753 w 82564"/>
              <a:gd name="connsiteY3" fmla="*/ 16483 h 110085"/>
              <a:gd name="connsiteX4" fmla="*/ 86328 w 82564"/>
              <a:gd name="connsiteY4" fmla="*/ 43965 h 11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110085">
                <a:moveTo>
                  <a:pt x="86328" y="43965"/>
                </a:moveTo>
                <a:cubicBezTo>
                  <a:pt x="98933" y="68247"/>
                  <a:pt x="94934" y="95311"/>
                  <a:pt x="77398" y="104414"/>
                </a:cubicBezTo>
                <a:cubicBezTo>
                  <a:pt x="59862" y="113517"/>
                  <a:pt x="35427" y="101212"/>
                  <a:pt x="22823" y="76931"/>
                </a:cubicBezTo>
                <a:cubicBezTo>
                  <a:pt x="10219" y="52649"/>
                  <a:pt x="14217" y="25586"/>
                  <a:pt x="31753" y="16483"/>
                </a:cubicBezTo>
                <a:cubicBezTo>
                  <a:pt x="49289" y="7380"/>
                  <a:pt x="73724" y="19684"/>
                  <a:pt x="86328" y="43965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5" name="íşľîďe"/>
          <p:cNvSpPr/>
          <p:nvPr/>
        </p:nvSpPr>
        <p:spPr>
          <a:xfrm>
            <a:off x="11221665" y="1664342"/>
            <a:ext cx="137607" cy="165129"/>
          </a:xfrm>
          <a:custGeom>
            <a:avLst/>
            <a:gdLst>
              <a:gd name="connsiteX0" fmla="*/ 114738 w 137607"/>
              <a:gd name="connsiteY0" fmla="*/ 61084 h 165128"/>
              <a:gd name="connsiteX1" fmla="*/ 104864 w 137607"/>
              <a:gd name="connsiteY1" fmla="*/ 143699 h 165128"/>
              <a:gd name="connsiteX2" fmla="*/ 31663 w 137607"/>
              <a:gd name="connsiteY2" fmla="*/ 104146 h 165128"/>
              <a:gd name="connsiteX3" fmla="*/ 41537 w 137607"/>
              <a:gd name="connsiteY3" fmla="*/ 21531 h 165128"/>
              <a:gd name="connsiteX4" fmla="*/ 114738 w 137607"/>
              <a:gd name="connsiteY4" fmla="*/ 61084 h 165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7607" h="165128">
                <a:moveTo>
                  <a:pt x="114738" y="61084"/>
                </a:moveTo>
                <a:cubicBezTo>
                  <a:pt x="132225" y="94820"/>
                  <a:pt x="127804" y="131807"/>
                  <a:pt x="104864" y="143699"/>
                </a:cubicBezTo>
                <a:cubicBezTo>
                  <a:pt x="81924" y="155590"/>
                  <a:pt x="49150" y="137882"/>
                  <a:pt x="31663" y="104146"/>
                </a:cubicBezTo>
                <a:cubicBezTo>
                  <a:pt x="14176" y="70411"/>
                  <a:pt x="18596" y="33423"/>
                  <a:pt x="41537" y="21531"/>
                </a:cubicBezTo>
                <a:cubicBezTo>
                  <a:pt x="64477" y="9640"/>
                  <a:pt x="97250" y="27348"/>
                  <a:pt x="114738" y="61084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7" name="íṡḻîḑe"/>
          <p:cNvSpPr/>
          <p:nvPr userDrawn="1"/>
        </p:nvSpPr>
        <p:spPr>
          <a:xfrm>
            <a:off x="3660501" y="2416383"/>
            <a:ext cx="1954023" cy="577950"/>
          </a:xfrm>
          <a:custGeom>
            <a:avLst/>
            <a:gdLst>
              <a:gd name="connsiteX0" fmla="*/ 1975892 w 1954022"/>
              <a:gd name="connsiteY0" fmla="*/ 0 h 577950"/>
              <a:gd name="connsiteX1" fmla="*/ 104433 w 1954022"/>
              <a:gd name="connsiteY1" fmla="*/ 599967 h 577950"/>
              <a:gd name="connsiteX2" fmla="*/ 2604 w 1954022"/>
              <a:gd name="connsiteY2" fmla="*/ 542172 h 577950"/>
              <a:gd name="connsiteX3" fmla="*/ 60399 w 1954022"/>
              <a:gd name="connsiteY3" fmla="*/ 440343 h 577950"/>
              <a:gd name="connsiteX4" fmla="*/ 1975892 w 1954022"/>
              <a:gd name="connsiteY4" fmla="*/ 0 h 577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4022" h="577950">
                <a:moveTo>
                  <a:pt x="1975892" y="0"/>
                </a:moveTo>
                <a:cubicBezTo>
                  <a:pt x="1975892" y="0"/>
                  <a:pt x="148467" y="586207"/>
                  <a:pt x="104433" y="599967"/>
                </a:cubicBezTo>
                <a:cubicBezTo>
                  <a:pt x="60399" y="610976"/>
                  <a:pt x="13613" y="586207"/>
                  <a:pt x="2604" y="542172"/>
                </a:cubicBezTo>
                <a:cubicBezTo>
                  <a:pt x="-8405" y="498138"/>
                  <a:pt x="16365" y="451352"/>
                  <a:pt x="60399" y="440343"/>
                </a:cubicBezTo>
                <a:cubicBezTo>
                  <a:pt x="107185" y="423830"/>
                  <a:pt x="1975892" y="0"/>
                  <a:pt x="1975892" y="0"/>
                </a:cubicBezTo>
                <a:close/>
              </a:path>
            </a:pathLst>
          </a:custGeom>
          <a:solidFill>
            <a:srgbClr val="FFFFFF">
              <a:alpha val="10000"/>
            </a:srgbClr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8" name="íş1idé"/>
          <p:cNvSpPr/>
          <p:nvPr/>
        </p:nvSpPr>
        <p:spPr>
          <a:xfrm>
            <a:off x="9912421" y="689656"/>
            <a:ext cx="82564" cy="82564"/>
          </a:xfrm>
          <a:custGeom>
            <a:avLst/>
            <a:gdLst>
              <a:gd name="connsiteX0" fmla="*/ 90536 w 82564"/>
              <a:gd name="connsiteY0" fmla="*/ 39817 h 82564"/>
              <a:gd name="connsiteX1" fmla="*/ 61622 w 82564"/>
              <a:gd name="connsiteY1" fmla="*/ 90536 h 82564"/>
              <a:gd name="connsiteX2" fmla="*/ 10903 w 82564"/>
              <a:gd name="connsiteY2" fmla="*/ 61622 h 82564"/>
              <a:gd name="connsiteX3" fmla="*/ 39817 w 82564"/>
              <a:gd name="connsiteY3" fmla="*/ 10903 h 82564"/>
              <a:gd name="connsiteX4" fmla="*/ 90536 w 82564"/>
              <a:gd name="connsiteY4" fmla="*/ 39817 h 82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82564">
                <a:moveTo>
                  <a:pt x="90536" y="39817"/>
                </a:moveTo>
                <a:cubicBezTo>
                  <a:pt x="96557" y="61807"/>
                  <a:pt x="83612" y="84515"/>
                  <a:pt x="61622" y="90536"/>
                </a:cubicBezTo>
                <a:cubicBezTo>
                  <a:pt x="39632" y="96557"/>
                  <a:pt x="16924" y="83612"/>
                  <a:pt x="10903" y="61622"/>
                </a:cubicBezTo>
                <a:cubicBezTo>
                  <a:pt x="4881" y="39632"/>
                  <a:pt x="17826" y="16924"/>
                  <a:pt x="39817" y="10903"/>
                </a:cubicBezTo>
                <a:cubicBezTo>
                  <a:pt x="61807" y="4881"/>
                  <a:pt x="84515" y="17827"/>
                  <a:pt x="90536" y="39817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9" name="ïšļîdê"/>
          <p:cNvSpPr/>
          <p:nvPr/>
        </p:nvSpPr>
        <p:spPr>
          <a:xfrm>
            <a:off x="9880348" y="220172"/>
            <a:ext cx="1954023" cy="577950"/>
          </a:xfrm>
          <a:custGeom>
            <a:avLst/>
            <a:gdLst>
              <a:gd name="connsiteX0" fmla="*/ 1975891 w 1954022"/>
              <a:gd name="connsiteY0" fmla="*/ 0 h 577950"/>
              <a:gd name="connsiteX1" fmla="*/ 104433 w 1954022"/>
              <a:gd name="connsiteY1" fmla="*/ 599968 h 577950"/>
              <a:gd name="connsiteX2" fmla="*/ 2604 w 1954022"/>
              <a:gd name="connsiteY2" fmla="*/ 542173 h 577950"/>
              <a:gd name="connsiteX3" fmla="*/ 60399 w 1954022"/>
              <a:gd name="connsiteY3" fmla="*/ 440343 h 577950"/>
              <a:gd name="connsiteX4" fmla="*/ 1975891 w 1954022"/>
              <a:gd name="connsiteY4" fmla="*/ 0 h 577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4022" h="577950">
                <a:moveTo>
                  <a:pt x="1975891" y="0"/>
                </a:moveTo>
                <a:cubicBezTo>
                  <a:pt x="1975891" y="0"/>
                  <a:pt x="148467" y="586207"/>
                  <a:pt x="104433" y="599968"/>
                </a:cubicBezTo>
                <a:cubicBezTo>
                  <a:pt x="60399" y="610976"/>
                  <a:pt x="13612" y="586207"/>
                  <a:pt x="2604" y="542173"/>
                </a:cubicBezTo>
                <a:cubicBezTo>
                  <a:pt x="-8404" y="498138"/>
                  <a:pt x="16365" y="451352"/>
                  <a:pt x="60399" y="440343"/>
                </a:cubicBezTo>
                <a:cubicBezTo>
                  <a:pt x="107185" y="426582"/>
                  <a:pt x="1975891" y="0"/>
                  <a:pt x="1975891" y="0"/>
                </a:cubicBezTo>
                <a:close/>
              </a:path>
            </a:pathLst>
          </a:custGeom>
          <a:solidFill>
            <a:srgbClr val="FFFFFF">
              <a:alpha val="10000"/>
            </a:srgbClr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0" name="îSľîdé"/>
          <p:cNvSpPr/>
          <p:nvPr/>
        </p:nvSpPr>
        <p:spPr>
          <a:xfrm>
            <a:off x="7818843" y="5776752"/>
            <a:ext cx="990772" cy="935729"/>
          </a:xfrm>
          <a:custGeom>
            <a:avLst/>
            <a:gdLst>
              <a:gd name="connsiteX0" fmla="*/ 0 w 990772"/>
              <a:gd name="connsiteY0" fmla="*/ 0 h 935729"/>
              <a:gd name="connsiteX1" fmla="*/ 999028 w 990772"/>
              <a:gd name="connsiteY1" fmla="*/ 0 h 935729"/>
              <a:gd name="connsiteX2" fmla="*/ 999028 w 990772"/>
              <a:gd name="connsiteY2" fmla="*/ 949490 h 935729"/>
              <a:gd name="connsiteX3" fmla="*/ 0 w 990772"/>
              <a:gd name="connsiteY3" fmla="*/ 949490 h 935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0772" h="935729">
                <a:moveTo>
                  <a:pt x="0" y="0"/>
                </a:moveTo>
                <a:lnTo>
                  <a:pt x="999028" y="0"/>
                </a:lnTo>
                <a:lnTo>
                  <a:pt x="999028" y="949490"/>
                </a:lnTo>
                <a:lnTo>
                  <a:pt x="0" y="949490"/>
                </a:lnTo>
                <a:close/>
              </a:path>
            </a:pathLst>
          </a:custGeom>
          <a:solidFill>
            <a:srgbClr val="E8C2A9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1" name="íş1ïḑe"/>
          <p:cNvSpPr/>
          <p:nvPr/>
        </p:nvSpPr>
        <p:spPr>
          <a:xfrm>
            <a:off x="8795855" y="5776752"/>
            <a:ext cx="27521" cy="935729"/>
          </a:xfrm>
          <a:custGeom>
            <a:avLst/>
            <a:gdLst>
              <a:gd name="connsiteX0" fmla="*/ 0 w 0"/>
              <a:gd name="connsiteY0" fmla="*/ 0 h 935729"/>
              <a:gd name="connsiteX1" fmla="*/ 22017 w 0"/>
              <a:gd name="connsiteY1" fmla="*/ 0 h 935729"/>
              <a:gd name="connsiteX2" fmla="*/ 22017 w 0"/>
              <a:gd name="connsiteY2" fmla="*/ 949490 h 935729"/>
              <a:gd name="connsiteX3" fmla="*/ 0 w 0"/>
              <a:gd name="connsiteY3" fmla="*/ 949490 h 935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h="935729">
                <a:moveTo>
                  <a:pt x="0" y="0"/>
                </a:moveTo>
                <a:lnTo>
                  <a:pt x="22017" y="0"/>
                </a:lnTo>
                <a:lnTo>
                  <a:pt x="22017" y="949490"/>
                </a:lnTo>
                <a:lnTo>
                  <a:pt x="0" y="949490"/>
                </a:lnTo>
                <a:close/>
              </a:path>
            </a:pathLst>
          </a:custGeom>
          <a:solidFill>
            <a:srgbClr val="FFDBC4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2" name="ïşḷíḑé"/>
          <p:cNvSpPr/>
          <p:nvPr/>
        </p:nvSpPr>
        <p:spPr>
          <a:xfrm>
            <a:off x="8817872" y="5776752"/>
            <a:ext cx="990772" cy="935729"/>
          </a:xfrm>
          <a:custGeom>
            <a:avLst/>
            <a:gdLst>
              <a:gd name="connsiteX0" fmla="*/ 0 w 990772"/>
              <a:gd name="connsiteY0" fmla="*/ 0 h 935729"/>
              <a:gd name="connsiteX1" fmla="*/ 999028 w 990772"/>
              <a:gd name="connsiteY1" fmla="*/ 0 h 935729"/>
              <a:gd name="connsiteX2" fmla="*/ 999028 w 990772"/>
              <a:gd name="connsiteY2" fmla="*/ 949490 h 935729"/>
              <a:gd name="connsiteX3" fmla="*/ 0 w 990772"/>
              <a:gd name="connsiteY3" fmla="*/ 949490 h 935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0772" h="935729">
                <a:moveTo>
                  <a:pt x="0" y="0"/>
                </a:moveTo>
                <a:lnTo>
                  <a:pt x="999028" y="0"/>
                </a:lnTo>
                <a:lnTo>
                  <a:pt x="999028" y="949490"/>
                </a:lnTo>
                <a:lnTo>
                  <a:pt x="0" y="949490"/>
                </a:lnTo>
                <a:close/>
              </a:path>
            </a:pathLst>
          </a:custGeom>
          <a:solidFill>
            <a:srgbClr val="D4A585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3" name="îSlïḓè"/>
          <p:cNvSpPr/>
          <p:nvPr/>
        </p:nvSpPr>
        <p:spPr>
          <a:xfrm>
            <a:off x="7417030" y="5440990"/>
            <a:ext cx="1376072" cy="330257"/>
          </a:xfrm>
          <a:custGeom>
            <a:avLst/>
            <a:gdLst>
              <a:gd name="connsiteX0" fmla="*/ 1400841 w 1376072"/>
              <a:gd name="connsiteY0" fmla="*/ 335762 h 330257"/>
              <a:gd name="connsiteX1" fmla="*/ 401813 w 1376072"/>
              <a:gd name="connsiteY1" fmla="*/ 335762 h 330257"/>
              <a:gd name="connsiteX2" fmla="*/ 0 w 1376072"/>
              <a:gd name="connsiteY2" fmla="*/ 0 h 330257"/>
              <a:gd name="connsiteX3" fmla="*/ 999028 w 1376072"/>
              <a:gd name="connsiteY3" fmla="*/ 0 h 3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76072" h="330257">
                <a:moveTo>
                  <a:pt x="1400841" y="335762"/>
                </a:moveTo>
                <a:lnTo>
                  <a:pt x="401813" y="335762"/>
                </a:lnTo>
                <a:lnTo>
                  <a:pt x="0" y="0"/>
                </a:lnTo>
                <a:lnTo>
                  <a:pt x="999028" y="0"/>
                </a:lnTo>
                <a:close/>
              </a:path>
            </a:pathLst>
          </a:custGeom>
          <a:solidFill>
            <a:srgbClr val="D4A585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4" name="iṧľíḍé"/>
          <p:cNvSpPr/>
          <p:nvPr/>
        </p:nvSpPr>
        <p:spPr>
          <a:xfrm>
            <a:off x="8817872" y="5440990"/>
            <a:ext cx="1403594" cy="330257"/>
          </a:xfrm>
          <a:custGeom>
            <a:avLst/>
            <a:gdLst>
              <a:gd name="connsiteX0" fmla="*/ 0 w 1403593"/>
              <a:gd name="connsiteY0" fmla="*/ 335762 h 330257"/>
              <a:gd name="connsiteX1" fmla="*/ 1001780 w 1403593"/>
              <a:gd name="connsiteY1" fmla="*/ 335762 h 330257"/>
              <a:gd name="connsiteX2" fmla="*/ 1403594 w 1403593"/>
              <a:gd name="connsiteY2" fmla="*/ 0 h 330257"/>
              <a:gd name="connsiteX3" fmla="*/ 401813 w 1403593"/>
              <a:gd name="connsiteY3" fmla="*/ 0 h 3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03593" h="330257">
                <a:moveTo>
                  <a:pt x="0" y="335762"/>
                </a:moveTo>
                <a:lnTo>
                  <a:pt x="1001780" y="335762"/>
                </a:lnTo>
                <a:lnTo>
                  <a:pt x="1403594" y="0"/>
                </a:lnTo>
                <a:lnTo>
                  <a:pt x="401813" y="0"/>
                </a:lnTo>
                <a:close/>
              </a:path>
            </a:pathLst>
          </a:custGeom>
          <a:solidFill>
            <a:srgbClr val="AD7A5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5" name="ïšḻídê"/>
          <p:cNvSpPr/>
          <p:nvPr/>
        </p:nvSpPr>
        <p:spPr>
          <a:xfrm>
            <a:off x="8817872" y="5776751"/>
            <a:ext cx="990772" cy="467865"/>
          </a:xfrm>
          <a:custGeom>
            <a:avLst/>
            <a:gdLst>
              <a:gd name="connsiteX0" fmla="*/ 0 w 990772"/>
              <a:gd name="connsiteY0" fmla="*/ 0 h 467864"/>
              <a:gd name="connsiteX1" fmla="*/ 1001780 w 990772"/>
              <a:gd name="connsiteY1" fmla="*/ 476121 h 467864"/>
              <a:gd name="connsiteX2" fmla="*/ 1001780 w 990772"/>
              <a:gd name="connsiteY2" fmla="*/ 0 h 46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90772" h="467864">
                <a:moveTo>
                  <a:pt x="0" y="0"/>
                </a:moveTo>
                <a:lnTo>
                  <a:pt x="1001780" y="476121"/>
                </a:lnTo>
                <a:lnTo>
                  <a:pt x="1001780" y="0"/>
                </a:lnTo>
                <a:close/>
              </a:path>
            </a:pathLst>
          </a:custGeom>
          <a:solidFill>
            <a:srgbClr val="F0D8C7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6" name="îṧliḋé"/>
          <p:cNvSpPr/>
          <p:nvPr/>
        </p:nvSpPr>
        <p:spPr>
          <a:xfrm>
            <a:off x="8173870" y="6517079"/>
            <a:ext cx="275214" cy="192650"/>
          </a:xfrm>
          <a:custGeom>
            <a:avLst/>
            <a:gdLst>
              <a:gd name="connsiteX0" fmla="*/ 0 w 275214"/>
              <a:gd name="connsiteY0" fmla="*/ 209163 h 192650"/>
              <a:gd name="connsiteX1" fmla="*/ 0 w 275214"/>
              <a:gd name="connsiteY1" fmla="*/ 0 h 192650"/>
              <a:gd name="connsiteX2" fmla="*/ 35778 w 275214"/>
              <a:gd name="connsiteY2" fmla="*/ 19265 h 192650"/>
              <a:gd name="connsiteX3" fmla="*/ 71556 w 275214"/>
              <a:gd name="connsiteY3" fmla="*/ 0 h 192650"/>
              <a:gd name="connsiteX4" fmla="*/ 107333 w 275214"/>
              <a:gd name="connsiteY4" fmla="*/ 19265 h 192650"/>
              <a:gd name="connsiteX5" fmla="*/ 145863 w 275214"/>
              <a:gd name="connsiteY5" fmla="*/ 0 h 192650"/>
              <a:gd name="connsiteX6" fmla="*/ 181642 w 275214"/>
              <a:gd name="connsiteY6" fmla="*/ 19265 h 192650"/>
              <a:gd name="connsiteX7" fmla="*/ 217419 w 275214"/>
              <a:gd name="connsiteY7" fmla="*/ 0 h 192650"/>
              <a:gd name="connsiteX8" fmla="*/ 253198 w 275214"/>
              <a:gd name="connsiteY8" fmla="*/ 19265 h 192650"/>
              <a:gd name="connsiteX9" fmla="*/ 288975 w 275214"/>
              <a:gd name="connsiteY9" fmla="*/ 0 h 192650"/>
              <a:gd name="connsiteX10" fmla="*/ 288975 w 275214"/>
              <a:gd name="connsiteY10" fmla="*/ 209163 h 192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75214" h="192650">
                <a:moveTo>
                  <a:pt x="0" y="209163"/>
                </a:moveTo>
                <a:lnTo>
                  <a:pt x="0" y="0"/>
                </a:lnTo>
                <a:lnTo>
                  <a:pt x="35778" y="19265"/>
                </a:lnTo>
                <a:lnTo>
                  <a:pt x="71556" y="0"/>
                </a:lnTo>
                <a:lnTo>
                  <a:pt x="107333" y="19265"/>
                </a:lnTo>
                <a:lnTo>
                  <a:pt x="145863" y="0"/>
                </a:lnTo>
                <a:lnTo>
                  <a:pt x="181642" y="19265"/>
                </a:lnTo>
                <a:lnTo>
                  <a:pt x="217419" y="0"/>
                </a:lnTo>
                <a:lnTo>
                  <a:pt x="253198" y="19265"/>
                </a:lnTo>
                <a:lnTo>
                  <a:pt x="288975" y="0"/>
                </a:lnTo>
                <a:lnTo>
                  <a:pt x="288975" y="209163"/>
                </a:lnTo>
                <a:close/>
              </a:path>
            </a:pathLst>
          </a:custGeom>
          <a:solidFill>
            <a:srgbClr val="AD7A5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7" name="iṡlïḋe"/>
          <p:cNvSpPr/>
          <p:nvPr/>
        </p:nvSpPr>
        <p:spPr>
          <a:xfrm>
            <a:off x="8259187" y="6335437"/>
            <a:ext cx="110086" cy="27521"/>
          </a:xfrm>
          <a:custGeom>
            <a:avLst/>
            <a:gdLst>
              <a:gd name="connsiteX0" fmla="*/ 121094 w 110085"/>
              <a:gd name="connsiteY0" fmla="*/ 11009 h 0"/>
              <a:gd name="connsiteX1" fmla="*/ 110086 w 110085"/>
              <a:gd name="connsiteY1" fmla="*/ 22017 h 0"/>
              <a:gd name="connsiteX2" fmla="*/ 11008 w 110085"/>
              <a:gd name="connsiteY2" fmla="*/ 22017 h 0"/>
              <a:gd name="connsiteX3" fmla="*/ 0 w 110085"/>
              <a:gd name="connsiteY3" fmla="*/ 11009 h 0"/>
              <a:gd name="connsiteX4" fmla="*/ 0 w 110085"/>
              <a:gd name="connsiteY4" fmla="*/ 11009 h 0"/>
              <a:gd name="connsiteX5" fmla="*/ 11008 w 110085"/>
              <a:gd name="connsiteY5" fmla="*/ 0 h 0"/>
              <a:gd name="connsiteX6" fmla="*/ 110086 w 110085"/>
              <a:gd name="connsiteY6" fmla="*/ 0 h 0"/>
              <a:gd name="connsiteX7" fmla="*/ 121094 w 110085"/>
              <a:gd name="connsiteY7" fmla="*/ 11009 h 0"/>
              <a:gd name="connsiteX8" fmla="*/ 121094 w 110085"/>
              <a:gd name="connsiteY8" fmla="*/ 11009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085">
                <a:moveTo>
                  <a:pt x="121094" y="11009"/>
                </a:moveTo>
                <a:cubicBezTo>
                  <a:pt x="121094" y="16513"/>
                  <a:pt x="115590" y="22017"/>
                  <a:pt x="110086" y="22017"/>
                </a:cubicBezTo>
                <a:lnTo>
                  <a:pt x="11008" y="22017"/>
                </a:lnTo>
                <a:cubicBezTo>
                  <a:pt x="5504" y="22017"/>
                  <a:pt x="0" y="16513"/>
                  <a:pt x="0" y="11009"/>
                </a:cubicBezTo>
                <a:lnTo>
                  <a:pt x="0" y="11009"/>
                </a:lnTo>
                <a:cubicBezTo>
                  <a:pt x="0" y="5504"/>
                  <a:pt x="5504" y="0"/>
                  <a:pt x="11008" y="0"/>
                </a:cubicBezTo>
                <a:lnTo>
                  <a:pt x="110086" y="0"/>
                </a:lnTo>
                <a:cubicBezTo>
                  <a:pt x="115590" y="0"/>
                  <a:pt x="121094" y="5504"/>
                  <a:pt x="121094" y="11009"/>
                </a:cubicBezTo>
                <a:lnTo>
                  <a:pt x="121094" y="11009"/>
                </a:lnTo>
                <a:close/>
              </a:path>
            </a:pathLst>
          </a:custGeom>
          <a:solidFill>
            <a:srgbClr val="AD7A5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8" name="ïṡlïďe"/>
          <p:cNvSpPr/>
          <p:nvPr/>
        </p:nvSpPr>
        <p:spPr>
          <a:xfrm>
            <a:off x="8267443" y="6365711"/>
            <a:ext cx="82564" cy="27521"/>
          </a:xfrm>
          <a:custGeom>
            <a:avLst/>
            <a:gdLst>
              <a:gd name="connsiteX0" fmla="*/ 104582 w 82564"/>
              <a:gd name="connsiteY0" fmla="*/ 11008 h 0"/>
              <a:gd name="connsiteX1" fmla="*/ 93573 w 82564"/>
              <a:gd name="connsiteY1" fmla="*/ 22017 h 0"/>
              <a:gd name="connsiteX2" fmla="*/ 11008 w 82564"/>
              <a:gd name="connsiteY2" fmla="*/ 22017 h 0"/>
              <a:gd name="connsiteX3" fmla="*/ 0 w 82564"/>
              <a:gd name="connsiteY3" fmla="*/ 11008 h 0"/>
              <a:gd name="connsiteX4" fmla="*/ 0 w 82564"/>
              <a:gd name="connsiteY4" fmla="*/ 11008 h 0"/>
              <a:gd name="connsiteX5" fmla="*/ 11008 w 82564"/>
              <a:gd name="connsiteY5" fmla="*/ 0 h 0"/>
              <a:gd name="connsiteX6" fmla="*/ 93573 w 82564"/>
              <a:gd name="connsiteY6" fmla="*/ 0 h 0"/>
              <a:gd name="connsiteX7" fmla="*/ 104582 w 82564"/>
              <a:gd name="connsiteY7" fmla="*/ 11008 h 0"/>
              <a:gd name="connsiteX8" fmla="*/ 104582 w 82564"/>
              <a:gd name="connsiteY8" fmla="*/ 11008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2564">
                <a:moveTo>
                  <a:pt x="104582" y="11008"/>
                </a:moveTo>
                <a:cubicBezTo>
                  <a:pt x="104582" y="16513"/>
                  <a:pt x="99077" y="22017"/>
                  <a:pt x="93573" y="22017"/>
                </a:cubicBezTo>
                <a:lnTo>
                  <a:pt x="11008" y="22017"/>
                </a:lnTo>
                <a:cubicBezTo>
                  <a:pt x="5505" y="22017"/>
                  <a:pt x="0" y="16513"/>
                  <a:pt x="0" y="11008"/>
                </a:cubicBezTo>
                <a:lnTo>
                  <a:pt x="0" y="11008"/>
                </a:lnTo>
                <a:cubicBezTo>
                  <a:pt x="0" y="5504"/>
                  <a:pt x="5505" y="0"/>
                  <a:pt x="11008" y="0"/>
                </a:cubicBezTo>
                <a:lnTo>
                  <a:pt x="93573" y="0"/>
                </a:lnTo>
                <a:cubicBezTo>
                  <a:pt x="99077" y="0"/>
                  <a:pt x="104582" y="5504"/>
                  <a:pt x="104582" y="11008"/>
                </a:cubicBezTo>
                <a:lnTo>
                  <a:pt x="104582" y="11008"/>
                </a:lnTo>
                <a:close/>
              </a:path>
            </a:pathLst>
          </a:custGeom>
          <a:solidFill>
            <a:srgbClr val="AD7A5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9" name="îṣliḋè"/>
          <p:cNvSpPr/>
          <p:nvPr/>
        </p:nvSpPr>
        <p:spPr>
          <a:xfrm>
            <a:off x="8291133" y="6398736"/>
            <a:ext cx="27521" cy="27521"/>
          </a:xfrm>
          <a:custGeom>
            <a:avLst/>
            <a:gdLst>
              <a:gd name="connsiteX0" fmla="*/ 36858 w 27521"/>
              <a:gd name="connsiteY0" fmla="*/ 0 h 27521"/>
              <a:gd name="connsiteX1" fmla="*/ 17592 w 27521"/>
              <a:gd name="connsiteY1" fmla="*/ 0 h 27521"/>
              <a:gd name="connsiteX2" fmla="*/ 6584 w 27521"/>
              <a:gd name="connsiteY2" fmla="*/ 0 h 27521"/>
              <a:gd name="connsiteX3" fmla="*/ 1079 w 27521"/>
              <a:gd name="connsiteY3" fmla="*/ 8257 h 27521"/>
              <a:gd name="connsiteX4" fmla="*/ 6584 w 27521"/>
              <a:gd name="connsiteY4" fmla="*/ 19265 h 27521"/>
              <a:gd name="connsiteX5" fmla="*/ 17592 w 27521"/>
              <a:gd name="connsiteY5" fmla="*/ 27521 h 27521"/>
              <a:gd name="connsiteX6" fmla="*/ 34105 w 27521"/>
              <a:gd name="connsiteY6" fmla="*/ 27521 h 27521"/>
              <a:gd name="connsiteX7" fmla="*/ 45114 w 27521"/>
              <a:gd name="connsiteY7" fmla="*/ 19265 h 27521"/>
              <a:gd name="connsiteX8" fmla="*/ 50618 w 27521"/>
              <a:gd name="connsiteY8" fmla="*/ 8257 h 27521"/>
              <a:gd name="connsiteX9" fmla="*/ 45114 w 27521"/>
              <a:gd name="connsiteY9" fmla="*/ 0 h 27521"/>
              <a:gd name="connsiteX10" fmla="*/ 36858 w 27521"/>
              <a:gd name="connsiteY10" fmla="*/ 0 h 275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7521" h="27521">
                <a:moveTo>
                  <a:pt x="36858" y="0"/>
                </a:moveTo>
                <a:cubicBezTo>
                  <a:pt x="31353" y="0"/>
                  <a:pt x="23097" y="0"/>
                  <a:pt x="17592" y="0"/>
                </a:cubicBezTo>
                <a:lnTo>
                  <a:pt x="6584" y="0"/>
                </a:lnTo>
                <a:cubicBezTo>
                  <a:pt x="1079" y="0"/>
                  <a:pt x="-1672" y="2752"/>
                  <a:pt x="1079" y="8257"/>
                </a:cubicBezTo>
                <a:lnTo>
                  <a:pt x="6584" y="19265"/>
                </a:lnTo>
                <a:cubicBezTo>
                  <a:pt x="9336" y="24769"/>
                  <a:pt x="14840" y="27521"/>
                  <a:pt x="17592" y="27521"/>
                </a:cubicBezTo>
                <a:cubicBezTo>
                  <a:pt x="23097" y="27521"/>
                  <a:pt x="31353" y="27521"/>
                  <a:pt x="34105" y="27521"/>
                </a:cubicBezTo>
                <a:cubicBezTo>
                  <a:pt x="36858" y="27521"/>
                  <a:pt x="45114" y="24769"/>
                  <a:pt x="45114" y="19265"/>
                </a:cubicBezTo>
                <a:lnTo>
                  <a:pt x="50618" y="8257"/>
                </a:lnTo>
                <a:cubicBezTo>
                  <a:pt x="53371" y="2752"/>
                  <a:pt x="50618" y="0"/>
                  <a:pt x="45114" y="0"/>
                </a:cubicBezTo>
                <a:lnTo>
                  <a:pt x="36858" y="0"/>
                </a:lnTo>
                <a:close/>
              </a:path>
            </a:pathLst>
          </a:custGeom>
          <a:solidFill>
            <a:srgbClr val="AD7A5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60" name="iSľídê"/>
          <p:cNvSpPr/>
          <p:nvPr/>
        </p:nvSpPr>
        <p:spPr>
          <a:xfrm>
            <a:off x="8173870" y="5977658"/>
            <a:ext cx="275214" cy="330257"/>
          </a:xfrm>
          <a:custGeom>
            <a:avLst/>
            <a:gdLst>
              <a:gd name="connsiteX0" fmla="*/ 145863 w 275214"/>
              <a:gd name="connsiteY0" fmla="*/ 0 h 330257"/>
              <a:gd name="connsiteX1" fmla="*/ 0 w 275214"/>
              <a:gd name="connsiteY1" fmla="*/ 145864 h 330257"/>
              <a:gd name="connsiteX2" fmla="*/ 44034 w 275214"/>
              <a:gd name="connsiteY2" fmla="*/ 250445 h 330257"/>
              <a:gd name="connsiteX3" fmla="*/ 44034 w 275214"/>
              <a:gd name="connsiteY3" fmla="*/ 250445 h 330257"/>
              <a:gd name="connsiteX4" fmla="*/ 85317 w 275214"/>
              <a:gd name="connsiteY4" fmla="*/ 330257 h 330257"/>
              <a:gd name="connsiteX5" fmla="*/ 85317 w 275214"/>
              <a:gd name="connsiteY5" fmla="*/ 330257 h 330257"/>
              <a:gd name="connsiteX6" fmla="*/ 104581 w 275214"/>
              <a:gd name="connsiteY6" fmla="*/ 352275 h 330257"/>
              <a:gd name="connsiteX7" fmla="*/ 145863 w 275214"/>
              <a:gd name="connsiteY7" fmla="*/ 352275 h 330257"/>
              <a:gd name="connsiteX8" fmla="*/ 187145 w 275214"/>
              <a:gd name="connsiteY8" fmla="*/ 352275 h 330257"/>
              <a:gd name="connsiteX9" fmla="*/ 206411 w 275214"/>
              <a:gd name="connsiteY9" fmla="*/ 330257 h 330257"/>
              <a:gd name="connsiteX10" fmla="*/ 206411 w 275214"/>
              <a:gd name="connsiteY10" fmla="*/ 333010 h 330257"/>
              <a:gd name="connsiteX11" fmla="*/ 247693 w 275214"/>
              <a:gd name="connsiteY11" fmla="*/ 250445 h 330257"/>
              <a:gd name="connsiteX12" fmla="*/ 247693 w 275214"/>
              <a:gd name="connsiteY12" fmla="*/ 250445 h 330257"/>
              <a:gd name="connsiteX13" fmla="*/ 291727 w 275214"/>
              <a:gd name="connsiteY13" fmla="*/ 145864 h 330257"/>
              <a:gd name="connsiteX14" fmla="*/ 145863 w 275214"/>
              <a:gd name="connsiteY14" fmla="*/ 0 h 3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75214" h="330257">
                <a:moveTo>
                  <a:pt x="145863" y="0"/>
                </a:moveTo>
                <a:cubicBezTo>
                  <a:pt x="63299" y="0"/>
                  <a:pt x="0" y="66052"/>
                  <a:pt x="0" y="145864"/>
                </a:cubicBezTo>
                <a:cubicBezTo>
                  <a:pt x="0" y="187146"/>
                  <a:pt x="16513" y="222924"/>
                  <a:pt x="44034" y="250445"/>
                </a:cubicBezTo>
                <a:lnTo>
                  <a:pt x="44034" y="250445"/>
                </a:lnTo>
                <a:cubicBezTo>
                  <a:pt x="68804" y="277967"/>
                  <a:pt x="79812" y="310992"/>
                  <a:pt x="85317" y="330257"/>
                </a:cubicBezTo>
                <a:lnTo>
                  <a:pt x="85317" y="330257"/>
                </a:lnTo>
                <a:cubicBezTo>
                  <a:pt x="88069" y="344018"/>
                  <a:pt x="99077" y="352275"/>
                  <a:pt x="104581" y="352275"/>
                </a:cubicBezTo>
                <a:lnTo>
                  <a:pt x="145863" y="352275"/>
                </a:lnTo>
                <a:lnTo>
                  <a:pt x="187145" y="352275"/>
                </a:lnTo>
                <a:cubicBezTo>
                  <a:pt x="192650" y="352275"/>
                  <a:pt x="203659" y="346770"/>
                  <a:pt x="206411" y="330257"/>
                </a:cubicBezTo>
                <a:lnTo>
                  <a:pt x="206411" y="333010"/>
                </a:lnTo>
                <a:cubicBezTo>
                  <a:pt x="211915" y="313745"/>
                  <a:pt x="222924" y="280719"/>
                  <a:pt x="247693" y="250445"/>
                </a:cubicBezTo>
                <a:lnTo>
                  <a:pt x="247693" y="250445"/>
                </a:lnTo>
                <a:cubicBezTo>
                  <a:pt x="275214" y="222924"/>
                  <a:pt x="291727" y="187146"/>
                  <a:pt x="291727" y="145864"/>
                </a:cubicBezTo>
                <a:cubicBezTo>
                  <a:pt x="291727" y="66052"/>
                  <a:pt x="225676" y="0"/>
                  <a:pt x="145863" y="0"/>
                </a:cubicBezTo>
                <a:close/>
              </a:path>
            </a:pathLst>
          </a:custGeom>
          <a:solidFill>
            <a:srgbClr val="AD7A5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9" name="矩形 8"/>
          <p:cNvSpPr/>
          <p:nvPr userDrawn="1"/>
        </p:nvSpPr>
        <p:spPr>
          <a:xfrm>
            <a:off x="9602485" y="5326225"/>
            <a:ext cx="77513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模板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moban/     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行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模板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hangye/ </a:t>
            </a:r>
            <a:endParaRPr lang="en-US" altLang="zh-CN" sz="100" dirty="0">
              <a:solidFill>
                <a:prstClr val="white"/>
              </a:solidFill>
              <a:latin typeface="Calibri" panose="020F0502020204030204"/>
              <a:ea typeface="宋体" panose="02010600030101010101" pitchFamily="2" charset="-122"/>
            </a:endParaRPr>
          </a:p>
          <a:p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节日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模板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jieri/           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素材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sucai/</a:t>
            </a:r>
            <a:endParaRPr lang="en-US" altLang="zh-CN" sz="100" dirty="0">
              <a:solidFill>
                <a:prstClr val="white"/>
              </a:solidFill>
              <a:latin typeface="Calibri" panose="020F0502020204030204"/>
              <a:ea typeface="宋体" panose="02010600030101010101" pitchFamily="2" charset="-122"/>
            </a:endParaRPr>
          </a:p>
          <a:p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背景图片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beijing/      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图表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tubiao/      </a:t>
            </a:r>
            <a:endParaRPr lang="en-US" altLang="zh-CN" sz="100" dirty="0">
              <a:solidFill>
                <a:prstClr val="white"/>
              </a:solidFill>
              <a:latin typeface="Calibri" panose="020F0502020204030204"/>
              <a:ea typeface="宋体" panose="02010600030101010101" pitchFamily="2" charset="-122"/>
            </a:endParaRPr>
          </a:p>
          <a:p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优秀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xiazai/        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教程： 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powerpoint/      </a:t>
            </a:r>
            <a:endParaRPr lang="en-US" altLang="zh-CN" sz="100" dirty="0">
              <a:solidFill>
                <a:prstClr val="white"/>
              </a:solidFill>
              <a:latin typeface="Calibri" panose="020F0502020204030204"/>
              <a:ea typeface="宋体" panose="02010600030101010101" pitchFamily="2" charset="-122"/>
            </a:endParaRPr>
          </a:p>
          <a:p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ord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教程： 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word/              Excel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教程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excel/  </a:t>
            </a:r>
            <a:endParaRPr lang="en-US" altLang="zh-CN" sz="100" dirty="0">
              <a:solidFill>
                <a:prstClr val="white"/>
              </a:solidFill>
              <a:latin typeface="Calibri" panose="020F0502020204030204"/>
              <a:ea typeface="宋体" panose="02010600030101010101" pitchFamily="2" charset="-122"/>
            </a:endParaRPr>
          </a:p>
          <a:p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资料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ziliao/                PPT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课件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kejian/ </a:t>
            </a:r>
            <a:endParaRPr lang="en-US" altLang="zh-CN" sz="100" dirty="0">
              <a:solidFill>
                <a:prstClr val="white"/>
              </a:solidFill>
              <a:latin typeface="Calibri" panose="020F0502020204030204"/>
              <a:ea typeface="宋体" panose="02010600030101010101" pitchFamily="2" charset="-122"/>
            </a:endParaRPr>
          </a:p>
          <a:p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范文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fanwen/             </a:t>
            </a:r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试卷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shiti/  </a:t>
            </a:r>
            <a:endParaRPr lang="en-US" altLang="zh-CN" sz="100" dirty="0">
              <a:solidFill>
                <a:prstClr val="white"/>
              </a:solidFill>
              <a:latin typeface="Calibri" panose="020F0502020204030204"/>
              <a:ea typeface="宋体" panose="02010600030101010101" pitchFamily="2" charset="-122"/>
            </a:endParaRPr>
          </a:p>
          <a:p>
            <a:r>
              <a:rPr lang="zh-CN" altLang="en-US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教案下载：</a:t>
            </a:r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jiaoan/  </a:t>
            </a:r>
            <a:r>
              <a:rPr lang="en-US" altLang="zh-CN" sz="100" dirty="0" smtClea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      </a:t>
            </a:r>
            <a:endParaRPr lang="en-US" altLang="zh-CN" sz="100" dirty="0">
              <a:solidFill>
                <a:prstClr val="white"/>
              </a:solidFill>
              <a:latin typeface="Calibri" panose="020F0502020204030204"/>
              <a:ea typeface="宋体" panose="02010600030101010101" pitchFamily="2" charset="-122"/>
            </a:endParaRPr>
          </a:p>
          <a:p>
            <a:r>
              <a:rPr lang="zh-CN" altLang="en-US" sz="100" dirty="0" smtClea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字体下载：</a:t>
            </a:r>
            <a:r>
              <a:rPr lang="en-US" altLang="zh-CN" sz="100" dirty="0" smtClea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www.1ppt.com/ziti/</a:t>
            </a:r>
            <a:endParaRPr lang="en-US" altLang="zh-CN" sz="100" dirty="0">
              <a:solidFill>
                <a:prstClr val="white"/>
              </a:solidFill>
              <a:latin typeface="Calibri" panose="020F0502020204030204"/>
              <a:ea typeface="宋体" panose="02010600030101010101" pitchFamily="2" charset="-122"/>
            </a:endParaRPr>
          </a:p>
          <a:p>
            <a:r>
              <a:rPr lang="en-US" altLang="zh-CN" sz="100" dirty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rPr>
              <a:t> </a:t>
            </a:r>
            <a:endParaRPr lang="zh-CN" altLang="en-US" sz="100" dirty="0">
              <a:solidFill>
                <a:prstClr val="white"/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íṡḷïḓê"/>
          <p:cNvSpPr/>
          <p:nvPr userDrawn="1"/>
        </p:nvSpPr>
        <p:spPr>
          <a:xfrm>
            <a:off x="-2359" y="-38530"/>
            <a:ext cx="12192000" cy="6896530"/>
          </a:xfrm>
          <a:prstGeom prst="rect">
            <a:avLst/>
          </a:prstGeom>
          <a:gradFill>
            <a:gsLst>
              <a:gs pos="0">
                <a:srgbClr val="81CBFF">
                  <a:alpha val="10000"/>
                </a:srgbClr>
              </a:gs>
              <a:gs pos="100000">
                <a:srgbClr val="4F86FF">
                  <a:alpha val="10000"/>
                </a:srgbClr>
              </a:gs>
            </a:gsLst>
            <a:lin ang="5400000" scaled="1"/>
          </a:gra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" name="í$ḷîḑê"/>
          <p:cNvSpPr/>
          <p:nvPr userDrawn="1"/>
        </p:nvSpPr>
        <p:spPr>
          <a:xfrm>
            <a:off x="-2359" y="-38530"/>
            <a:ext cx="12192000" cy="873669"/>
          </a:xfrm>
          <a:prstGeom prst="rect">
            <a:avLst/>
          </a:prstGeom>
          <a:gradFill>
            <a:gsLst>
              <a:gs pos="0">
                <a:srgbClr val="2DAAFF"/>
              </a:gs>
              <a:gs pos="100000">
                <a:srgbClr val="4F86FF"/>
              </a:gs>
            </a:gsLst>
            <a:lin ang="5400000" scaled="1"/>
          </a:gra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8" name="i$ḷîḓé"/>
          <p:cNvSpPr/>
          <p:nvPr userDrawn="1"/>
        </p:nvSpPr>
        <p:spPr>
          <a:xfrm>
            <a:off x="2603530" y="253020"/>
            <a:ext cx="880686" cy="330257"/>
          </a:xfrm>
          <a:custGeom>
            <a:avLst/>
            <a:gdLst>
              <a:gd name="connsiteX0" fmla="*/ 0 w 880686"/>
              <a:gd name="connsiteY0" fmla="*/ 305488 h 330257"/>
              <a:gd name="connsiteX1" fmla="*/ 173385 w 880686"/>
              <a:gd name="connsiteY1" fmla="*/ 330257 h 330257"/>
              <a:gd name="connsiteX2" fmla="*/ 294480 w 880686"/>
              <a:gd name="connsiteY2" fmla="*/ 203659 h 330257"/>
              <a:gd name="connsiteX3" fmla="*/ 467865 w 880686"/>
              <a:gd name="connsiteY3" fmla="*/ 228428 h 330257"/>
              <a:gd name="connsiteX4" fmla="*/ 588959 w 880686"/>
              <a:gd name="connsiteY4" fmla="*/ 101829 h 330257"/>
              <a:gd name="connsiteX5" fmla="*/ 762344 w 880686"/>
              <a:gd name="connsiteY5" fmla="*/ 126599 h 330257"/>
              <a:gd name="connsiteX6" fmla="*/ 883438 w 880686"/>
              <a:gd name="connsiteY6" fmla="*/ 0 h 3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0686" h="330257">
                <a:moveTo>
                  <a:pt x="0" y="305488"/>
                </a:moveTo>
                <a:lnTo>
                  <a:pt x="173385" y="330257"/>
                </a:lnTo>
                <a:lnTo>
                  <a:pt x="294480" y="203659"/>
                </a:lnTo>
                <a:lnTo>
                  <a:pt x="467865" y="228428"/>
                </a:lnTo>
                <a:lnTo>
                  <a:pt x="588959" y="101829"/>
                </a:lnTo>
                <a:lnTo>
                  <a:pt x="762344" y="126599"/>
                </a:lnTo>
                <a:lnTo>
                  <a:pt x="883438" y="0"/>
                </a:lnTo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9" name="îşļíďé"/>
          <p:cNvSpPr/>
          <p:nvPr userDrawn="1"/>
        </p:nvSpPr>
        <p:spPr>
          <a:xfrm>
            <a:off x="11091143" y="12456"/>
            <a:ext cx="825643" cy="412822"/>
          </a:xfrm>
          <a:custGeom>
            <a:avLst/>
            <a:gdLst>
              <a:gd name="connsiteX0" fmla="*/ 0 w 825643"/>
              <a:gd name="connsiteY0" fmla="*/ 0 h 412821"/>
              <a:gd name="connsiteX1" fmla="*/ 101830 w 825643"/>
              <a:gd name="connsiteY1" fmla="*/ 143112 h 412821"/>
              <a:gd name="connsiteX2" fmla="*/ 277967 w 825643"/>
              <a:gd name="connsiteY2" fmla="*/ 145864 h 412821"/>
              <a:gd name="connsiteX3" fmla="*/ 377044 w 825643"/>
              <a:gd name="connsiteY3" fmla="*/ 288975 h 412821"/>
              <a:gd name="connsiteX4" fmla="*/ 553181 w 825643"/>
              <a:gd name="connsiteY4" fmla="*/ 291727 h 412821"/>
              <a:gd name="connsiteX5" fmla="*/ 655010 w 825643"/>
              <a:gd name="connsiteY5" fmla="*/ 434839 h 412821"/>
              <a:gd name="connsiteX6" fmla="*/ 828396 w 825643"/>
              <a:gd name="connsiteY6" fmla="*/ 437591 h 412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25643" h="412821">
                <a:moveTo>
                  <a:pt x="0" y="0"/>
                </a:moveTo>
                <a:lnTo>
                  <a:pt x="101830" y="143112"/>
                </a:lnTo>
                <a:lnTo>
                  <a:pt x="277967" y="145864"/>
                </a:lnTo>
                <a:lnTo>
                  <a:pt x="377044" y="288975"/>
                </a:lnTo>
                <a:lnTo>
                  <a:pt x="553181" y="291727"/>
                </a:lnTo>
                <a:lnTo>
                  <a:pt x="655010" y="434839"/>
                </a:lnTo>
                <a:lnTo>
                  <a:pt x="828396" y="437591"/>
                </a:lnTo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1" name="iṥľíḑê"/>
          <p:cNvSpPr/>
          <p:nvPr userDrawn="1"/>
        </p:nvSpPr>
        <p:spPr>
          <a:xfrm>
            <a:off x="985269" y="608165"/>
            <a:ext cx="82564" cy="82564"/>
          </a:xfrm>
          <a:custGeom>
            <a:avLst/>
            <a:gdLst>
              <a:gd name="connsiteX0" fmla="*/ 104581 w 82564"/>
              <a:gd name="connsiteY0" fmla="*/ 52291 h 82564"/>
              <a:gd name="connsiteX1" fmla="*/ 52291 w 82564"/>
              <a:gd name="connsiteY1" fmla="*/ 104582 h 82564"/>
              <a:gd name="connsiteX2" fmla="*/ 0 w 82564"/>
              <a:gd name="connsiteY2" fmla="*/ 52291 h 82564"/>
              <a:gd name="connsiteX3" fmla="*/ 52291 w 82564"/>
              <a:gd name="connsiteY3" fmla="*/ 0 h 82564"/>
              <a:gd name="connsiteX4" fmla="*/ 104581 w 82564"/>
              <a:gd name="connsiteY4" fmla="*/ 52291 h 82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82564">
                <a:moveTo>
                  <a:pt x="104581" y="52291"/>
                </a:moveTo>
                <a:cubicBezTo>
                  <a:pt x="104581" y="81170"/>
                  <a:pt x="81170" y="104582"/>
                  <a:pt x="52291" y="104582"/>
                </a:cubicBezTo>
                <a:cubicBezTo>
                  <a:pt x="23411" y="104582"/>
                  <a:pt x="0" y="81170"/>
                  <a:pt x="0" y="52291"/>
                </a:cubicBezTo>
                <a:cubicBezTo>
                  <a:pt x="0" y="23411"/>
                  <a:pt x="23411" y="0"/>
                  <a:pt x="52291" y="0"/>
                </a:cubicBezTo>
                <a:cubicBezTo>
                  <a:pt x="81170" y="0"/>
                  <a:pt x="104581" y="23411"/>
                  <a:pt x="104581" y="52291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3" name="îṡḷiḍé"/>
          <p:cNvSpPr/>
          <p:nvPr userDrawn="1"/>
        </p:nvSpPr>
        <p:spPr>
          <a:xfrm>
            <a:off x="5220819" y="219994"/>
            <a:ext cx="467865" cy="467865"/>
          </a:xfrm>
          <a:custGeom>
            <a:avLst/>
            <a:gdLst>
              <a:gd name="connsiteX0" fmla="*/ 478873 w 467864"/>
              <a:gd name="connsiteY0" fmla="*/ 239437 h 467864"/>
              <a:gd name="connsiteX1" fmla="*/ 239437 w 467864"/>
              <a:gd name="connsiteY1" fmla="*/ 478873 h 467864"/>
              <a:gd name="connsiteX2" fmla="*/ 0 w 467864"/>
              <a:gd name="connsiteY2" fmla="*/ 239437 h 467864"/>
              <a:gd name="connsiteX3" fmla="*/ 239437 w 467864"/>
              <a:gd name="connsiteY3" fmla="*/ 0 h 467864"/>
              <a:gd name="connsiteX4" fmla="*/ 478873 w 467864"/>
              <a:gd name="connsiteY4" fmla="*/ 239437 h 467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7864" h="467864">
                <a:moveTo>
                  <a:pt x="478873" y="239437"/>
                </a:moveTo>
                <a:cubicBezTo>
                  <a:pt x="478873" y="371674"/>
                  <a:pt x="371674" y="478873"/>
                  <a:pt x="239437" y="478873"/>
                </a:cubicBezTo>
                <a:cubicBezTo>
                  <a:pt x="107200" y="478873"/>
                  <a:pt x="0" y="371674"/>
                  <a:pt x="0" y="239437"/>
                </a:cubicBezTo>
                <a:cubicBezTo>
                  <a:pt x="0" y="107199"/>
                  <a:pt x="107200" y="0"/>
                  <a:pt x="239437" y="0"/>
                </a:cubicBezTo>
                <a:cubicBezTo>
                  <a:pt x="371674" y="0"/>
                  <a:pt x="478873" y="107199"/>
                  <a:pt x="478873" y="239437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4" name="iṣļïďe"/>
          <p:cNvSpPr/>
          <p:nvPr userDrawn="1"/>
        </p:nvSpPr>
        <p:spPr>
          <a:xfrm>
            <a:off x="9880200" y="383877"/>
            <a:ext cx="110086" cy="27521"/>
          </a:xfrm>
          <a:custGeom>
            <a:avLst/>
            <a:gdLst>
              <a:gd name="connsiteX0" fmla="*/ 0 w 110085"/>
              <a:gd name="connsiteY0" fmla="*/ 0 h 0"/>
              <a:gd name="connsiteX1" fmla="*/ 126599 w 11008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0085">
                <a:moveTo>
                  <a:pt x="0" y="0"/>
                </a:moveTo>
                <a:lnTo>
                  <a:pt x="126599" y="0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5" name="išlïḑe"/>
          <p:cNvSpPr/>
          <p:nvPr userDrawn="1"/>
        </p:nvSpPr>
        <p:spPr>
          <a:xfrm>
            <a:off x="9943499" y="320578"/>
            <a:ext cx="27521" cy="110086"/>
          </a:xfrm>
          <a:custGeom>
            <a:avLst/>
            <a:gdLst>
              <a:gd name="connsiteX0" fmla="*/ 0 w 0"/>
              <a:gd name="connsiteY0" fmla="*/ 0 h 110085"/>
              <a:gd name="connsiteX1" fmla="*/ 0 w 0"/>
              <a:gd name="connsiteY1" fmla="*/ 126599 h 11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10085">
                <a:moveTo>
                  <a:pt x="0" y="0"/>
                </a:moveTo>
                <a:lnTo>
                  <a:pt x="0" y="126599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6" name="iṩḻîḍê"/>
          <p:cNvSpPr/>
          <p:nvPr userDrawn="1"/>
        </p:nvSpPr>
        <p:spPr>
          <a:xfrm>
            <a:off x="7070260" y="313685"/>
            <a:ext cx="110086" cy="27521"/>
          </a:xfrm>
          <a:custGeom>
            <a:avLst/>
            <a:gdLst>
              <a:gd name="connsiteX0" fmla="*/ 0 w 110085"/>
              <a:gd name="connsiteY0" fmla="*/ 0 h 0"/>
              <a:gd name="connsiteX1" fmla="*/ 126599 w 11008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0085">
                <a:moveTo>
                  <a:pt x="0" y="0"/>
                </a:moveTo>
                <a:lnTo>
                  <a:pt x="126599" y="0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7" name="iŝḷïḍê"/>
          <p:cNvSpPr/>
          <p:nvPr userDrawn="1"/>
        </p:nvSpPr>
        <p:spPr>
          <a:xfrm>
            <a:off x="7133559" y="250386"/>
            <a:ext cx="27521" cy="110086"/>
          </a:xfrm>
          <a:custGeom>
            <a:avLst/>
            <a:gdLst>
              <a:gd name="connsiteX0" fmla="*/ 0 w 0"/>
              <a:gd name="connsiteY0" fmla="*/ 0 h 110085"/>
              <a:gd name="connsiteX1" fmla="*/ 0 w 0"/>
              <a:gd name="connsiteY1" fmla="*/ 123847 h 11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10085">
                <a:moveTo>
                  <a:pt x="0" y="0"/>
                </a:moveTo>
                <a:lnTo>
                  <a:pt x="0" y="123847"/>
                </a:lnTo>
              </a:path>
            </a:pathLst>
          </a:custGeom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5" name="iṧḻïḋè"/>
          <p:cNvSpPr/>
          <p:nvPr userDrawn="1"/>
        </p:nvSpPr>
        <p:spPr>
          <a:xfrm>
            <a:off x="10626031" y="9497"/>
            <a:ext cx="825643" cy="825643"/>
          </a:xfrm>
          <a:custGeom>
            <a:avLst/>
            <a:gdLst>
              <a:gd name="connsiteX0" fmla="*/ 847660 w 825643"/>
              <a:gd name="connsiteY0" fmla="*/ 423830 h 825643"/>
              <a:gd name="connsiteX1" fmla="*/ 423830 w 825643"/>
              <a:gd name="connsiteY1" fmla="*/ 847661 h 825643"/>
              <a:gd name="connsiteX2" fmla="*/ 0 w 825643"/>
              <a:gd name="connsiteY2" fmla="*/ 423830 h 825643"/>
              <a:gd name="connsiteX3" fmla="*/ 423830 w 825643"/>
              <a:gd name="connsiteY3" fmla="*/ 0 h 825643"/>
              <a:gd name="connsiteX4" fmla="*/ 847660 w 825643"/>
              <a:gd name="connsiteY4" fmla="*/ 423830 h 825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3" h="825643">
                <a:moveTo>
                  <a:pt x="847660" y="423830"/>
                </a:moveTo>
                <a:cubicBezTo>
                  <a:pt x="847660" y="657905"/>
                  <a:pt x="657905" y="847661"/>
                  <a:pt x="423830" y="847661"/>
                </a:cubicBezTo>
                <a:cubicBezTo>
                  <a:pt x="189755" y="847661"/>
                  <a:pt x="0" y="657905"/>
                  <a:pt x="0" y="423830"/>
                </a:cubicBezTo>
                <a:cubicBezTo>
                  <a:pt x="0" y="189755"/>
                  <a:pt x="189755" y="0"/>
                  <a:pt x="423830" y="0"/>
                </a:cubicBezTo>
                <a:cubicBezTo>
                  <a:pt x="657905" y="0"/>
                  <a:pt x="847660" y="189755"/>
                  <a:pt x="847660" y="423830"/>
                </a:cubicBezTo>
                <a:close/>
              </a:path>
            </a:pathLst>
          </a:custGeom>
          <a:solidFill>
            <a:srgbClr val="FFC72B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6" name="iŝľiḋe"/>
          <p:cNvSpPr/>
          <p:nvPr userDrawn="1"/>
        </p:nvSpPr>
        <p:spPr>
          <a:xfrm>
            <a:off x="10689330" y="449840"/>
            <a:ext cx="770600" cy="302736"/>
          </a:xfrm>
          <a:custGeom>
            <a:avLst/>
            <a:gdLst>
              <a:gd name="connsiteX0" fmla="*/ 754087 w 770600"/>
              <a:gd name="connsiteY0" fmla="*/ 137607 h 302735"/>
              <a:gd name="connsiteX1" fmla="*/ 784361 w 770600"/>
              <a:gd name="connsiteY1" fmla="*/ 0 h 302735"/>
              <a:gd name="connsiteX2" fmla="*/ 401813 w 770600"/>
              <a:gd name="connsiteY2" fmla="*/ 137607 h 302735"/>
              <a:gd name="connsiteX3" fmla="*/ 0 w 770600"/>
              <a:gd name="connsiteY3" fmla="*/ 203659 h 302735"/>
              <a:gd name="connsiteX4" fmla="*/ 93573 w 770600"/>
              <a:gd name="connsiteY4" fmla="*/ 308240 h 302735"/>
              <a:gd name="connsiteX5" fmla="*/ 429335 w 770600"/>
              <a:gd name="connsiteY5" fmla="*/ 244941 h 302735"/>
              <a:gd name="connsiteX6" fmla="*/ 754087 w 770600"/>
              <a:gd name="connsiteY6" fmla="*/ 137607 h 302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70600" h="302735">
                <a:moveTo>
                  <a:pt x="754087" y="137607"/>
                </a:moveTo>
                <a:cubicBezTo>
                  <a:pt x="770600" y="93573"/>
                  <a:pt x="781609" y="49539"/>
                  <a:pt x="784361" y="0"/>
                </a:cubicBezTo>
                <a:cubicBezTo>
                  <a:pt x="690788" y="49539"/>
                  <a:pt x="555934" y="99077"/>
                  <a:pt x="401813" y="137607"/>
                </a:cubicBezTo>
                <a:cubicBezTo>
                  <a:pt x="250445" y="176137"/>
                  <a:pt x="107333" y="198154"/>
                  <a:pt x="0" y="203659"/>
                </a:cubicBezTo>
                <a:cubicBezTo>
                  <a:pt x="24769" y="244941"/>
                  <a:pt x="55043" y="277967"/>
                  <a:pt x="93573" y="308240"/>
                </a:cubicBezTo>
                <a:cubicBezTo>
                  <a:pt x="195402" y="297232"/>
                  <a:pt x="310993" y="275214"/>
                  <a:pt x="429335" y="244941"/>
                </a:cubicBezTo>
                <a:cubicBezTo>
                  <a:pt x="547677" y="214667"/>
                  <a:pt x="657762" y="176137"/>
                  <a:pt x="754087" y="137607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7" name="îṣļïdé"/>
          <p:cNvSpPr/>
          <p:nvPr userDrawn="1"/>
        </p:nvSpPr>
        <p:spPr>
          <a:xfrm>
            <a:off x="10318615" y="153525"/>
            <a:ext cx="1458637" cy="550429"/>
          </a:xfrm>
          <a:custGeom>
            <a:avLst/>
            <a:gdLst>
              <a:gd name="connsiteX0" fmla="*/ 1055999 w 1458636"/>
              <a:gd name="connsiteY0" fmla="*/ 7339 h 550428"/>
              <a:gd name="connsiteX1" fmla="*/ 1089025 w 1458636"/>
              <a:gd name="connsiteY1" fmla="*/ 54126 h 550428"/>
              <a:gd name="connsiteX2" fmla="*/ 1281675 w 1458636"/>
              <a:gd name="connsiteY2" fmla="*/ 100912 h 550428"/>
              <a:gd name="connsiteX3" fmla="*/ 756015 w 1458636"/>
              <a:gd name="connsiteY3" fmla="*/ 373374 h 550428"/>
              <a:gd name="connsiteX4" fmla="*/ 164304 w 1458636"/>
              <a:gd name="connsiteY4" fmla="*/ 392639 h 550428"/>
              <a:gd name="connsiteX5" fmla="*/ 307416 w 1458636"/>
              <a:gd name="connsiteY5" fmla="*/ 257784 h 550428"/>
              <a:gd name="connsiteX6" fmla="*/ 315672 w 1458636"/>
              <a:gd name="connsiteY6" fmla="*/ 199989 h 550428"/>
              <a:gd name="connsiteX7" fmla="*/ 1928 w 1458636"/>
              <a:gd name="connsiteY7" fmla="*/ 469699 h 550428"/>
              <a:gd name="connsiteX8" fmla="*/ 783537 w 1458636"/>
              <a:gd name="connsiteY8" fmla="*/ 483460 h 550428"/>
              <a:gd name="connsiteX9" fmla="*/ 1460564 w 1458636"/>
              <a:gd name="connsiteY9" fmla="*/ 89903 h 550428"/>
              <a:gd name="connsiteX10" fmla="*/ 1055999 w 1458636"/>
              <a:gd name="connsiteY10" fmla="*/ 7339 h 550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458636" h="550428">
                <a:moveTo>
                  <a:pt x="1055999" y="7339"/>
                </a:moveTo>
                <a:cubicBezTo>
                  <a:pt x="1069760" y="21100"/>
                  <a:pt x="1080769" y="37613"/>
                  <a:pt x="1089025" y="54126"/>
                </a:cubicBezTo>
                <a:cubicBezTo>
                  <a:pt x="1199111" y="51373"/>
                  <a:pt x="1270667" y="65134"/>
                  <a:pt x="1281675" y="100912"/>
                </a:cubicBezTo>
                <a:cubicBezTo>
                  <a:pt x="1300940" y="172468"/>
                  <a:pt x="1064256" y="293562"/>
                  <a:pt x="756015" y="373374"/>
                </a:cubicBezTo>
                <a:cubicBezTo>
                  <a:pt x="447776" y="453186"/>
                  <a:pt x="183570" y="461443"/>
                  <a:pt x="164304" y="392639"/>
                </a:cubicBezTo>
                <a:cubicBezTo>
                  <a:pt x="156048" y="356861"/>
                  <a:pt x="211091" y="307323"/>
                  <a:pt x="307416" y="257784"/>
                </a:cubicBezTo>
                <a:cubicBezTo>
                  <a:pt x="307416" y="238519"/>
                  <a:pt x="310168" y="219254"/>
                  <a:pt x="315672" y="199989"/>
                </a:cubicBezTo>
                <a:cubicBezTo>
                  <a:pt x="109261" y="290810"/>
                  <a:pt x="-17337" y="392639"/>
                  <a:pt x="1928" y="469699"/>
                </a:cubicBezTo>
                <a:cubicBezTo>
                  <a:pt x="32202" y="582537"/>
                  <a:pt x="381723" y="588042"/>
                  <a:pt x="783537" y="483460"/>
                </a:cubicBezTo>
                <a:cubicBezTo>
                  <a:pt x="1188102" y="376126"/>
                  <a:pt x="1490838" y="199989"/>
                  <a:pt x="1460564" y="89903"/>
                </a:cubicBezTo>
                <a:cubicBezTo>
                  <a:pt x="1441299" y="12843"/>
                  <a:pt x="1278923" y="-14678"/>
                  <a:pt x="1055999" y="7339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8" name="îş1iḋè"/>
          <p:cNvSpPr/>
          <p:nvPr userDrawn="1"/>
        </p:nvSpPr>
        <p:spPr>
          <a:xfrm>
            <a:off x="11087871" y="43559"/>
            <a:ext cx="220172" cy="220172"/>
          </a:xfrm>
          <a:custGeom>
            <a:avLst/>
            <a:gdLst>
              <a:gd name="connsiteX0" fmla="*/ 160664 w 220171"/>
              <a:gd name="connsiteY0" fmla="*/ 59365 h 220171"/>
              <a:gd name="connsiteX1" fmla="*/ 194116 w 220171"/>
              <a:gd name="connsiteY1" fmla="*/ 172913 h 220171"/>
              <a:gd name="connsiteX2" fmla="*/ 75856 w 220171"/>
              <a:gd name="connsiteY2" fmla="*/ 167731 h 220171"/>
              <a:gd name="connsiteX3" fmla="*/ 42404 w 220171"/>
              <a:gd name="connsiteY3" fmla="*/ 54183 h 220171"/>
              <a:gd name="connsiteX4" fmla="*/ 160664 w 220171"/>
              <a:gd name="connsiteY4" fmla="*/ 59365 h 220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171" h="220171">
                <a:moveTo>
                  <a:pt x="160664" y="59365"/>
                </a:moveTo>
                <a:cubicBezTo>
                  <a:pt x="202558" y="92151"/>
                  <a:pt x="217535" y="142989"/>
                  <a:pt x="194116" y="172913"/>
                </a:cubicBezTo>
                <a:cubicBezTo>
                  <a:pt x="170697" y="202837"/>
                  <a:pt x="117750" y="200517"/>
                  <a:pt x="75856" y="167731"/>
                </a:cubicBezTo>
                <a:cubicBezTo>
                  <a:pt x="33962" y="134944"/>
                  <a:pt x="18985" y="84107"/>
                  <a:pt x="42404" y="54183"/>
                </a:cubicBezTo>
                <a:cubicBezTo>
                  <a:pt x="65823" y="24258"/>
                  <a:pt x="118769" y="26578"/>
                  <a:pt x="160664" y="59365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9" name="ïṥḻíḑè"/>
          <p:cNvSpPr/>
          <p:nvPr userDrawn="1"/>
        </p:nvSpPr>
        <p:spPr>
          <a:xfrm>
            <a:off x="11303251" y="177961"/>
            <a:ext cx="82564" cy="110086"/>
          </a:xfrm>
          <a:custGeom>
            <a:avLst/>
            <a:gdLst>
              <a:gd name="connsiteX0" fmla="*/ 86328 w 82564"/>
              <a:gd name="connsiteY0" fmla="*/ 43965 h 110085"/>
              <a:gd name="connsiteX1" fmla="*/ 77398 w 82564"/>
              <a:gd name="connsiteY1" fmla="*/ 104414 h 110085"/>
              <a:gd name="connsiteX2" fmla="*/ 22823 w 82564"/>
              <a:gd name="connsiteY2" fmla="*/ 76931 h 110085"/>
              <a:gd name="connsiteX3" fmla="*/ 31753 w 82564"/>
              <a:gd name="connsiteY3" fmla="*/ 16483 h 110085"/>
              <a:gd name="connsiteX4" fmla="*/ 86328 w 82564"/>
              <a:gd name="connsiteY4" fmla="*/ 43965 h 11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110085">
                <a:moveTo>
                  <a:pt x="86328" y="43965"/>
                </a:moveTo>
                <a:cubicBezTo>
                  <a:pt x="98933" y="68247"/>
                  <a:pt x="94934" y="95311"/>
                  <a:pt x="77398" y="104414"/>
                </a:cubicBezTo>
                <a:cubicBezTo>
                  <a:pt x="59862" y="113517"/>
                  <a:pt x="35427" y="101212"/>
                  <a:pt x="22823" y="76931"/>
                </a:cubicBezTo>
                <a:cubicBezTo>
                  <a:pt x="10219" y="52649"/>
                  <a:pt x="14217" y="25586"/>
                  <a:pt x="31753" y="16483"/>
                </a:cubicBezTo>
                <a:cubicBezTo>
                  <a:pt x="49289" y="7380"/>
                  <a:pt x="73724" y="19684"/>
                  <a:pt x="86328" y="43965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0" name="íşľîďe"/>
          <p:cNvSpPr/>
          <p:nvPr userDrawn="1"/>
        </p:nvSpPr>
        <p:spPr>
          <a:xfrm>
            <a:off x="11221665" y="256484"/>
            <a:ext cx="137607" cy="165129"/>
          </a:xfrm>
          <a:custGeom>
            <a:avLst/>
            <a:gdLst>
              <a:gd name="connsiteX0" fmla="*/ 114738 w 137607"/>
              <a:gd name="connsiteY0" fmla="*/ 61084 h 165128"/>
              <a:gd name="connsiteX1" fmla="*/ 104864 w 137607"/>
              <a:gd name="connsiteY1" fmla="*/ 143699 h 165128"/>
              <a:gd name="connsiteX2" fmla="*/ 31663 w 137607"/>
              <a:gd name="connsiteY2" fmla="*/ 104146 h 165128"/>
              <a:gd name="connsiteX3" fmla="*/ 41537 w 137607"/>
              <a:gd name="connsiteY3" fmla="*/ 21531 h 165128"/>
              <a:gd name="connsiteX4" fmla="*/ 114738 w 137607"/>
              <a:gd name="connsiteY4" fmla="*/ 61084 h 165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7607" h="165128">
                <a:moveTo>
                  <a:pt x="114738" y="61084"/>
                </a:moveTo>
                <a:cubicBezTo>
                  <a:pt x="132225" y="94820"/>
                  <a:pt x="127804" y="131807"/>
                  <a:pt x="104864" y="143699"/>
                </a:cubicBezTo>
                <a:cubicBezTo>
                  <a:pt x="81924" y="155590"/>
                  <a:pt x="49150" y="137882"/>
                  <a:pt x="31663" y="104146"/>
                </a:cubicBezTo>
                <a:cubicBezTo>
                  <a:pt x="14176" y="70411"/>
                  <a:pt x="18596" y="33423"/>
                  <a:pt x="41537" y="21531"/>
                </a:cubicBezTo>
                <a:cubicBezTo>
                  <a:pt x="64477" y="9640"/>
                  <a:pt x="97250" y="27348"/>
                  <a:pt x="114738" y="61084"/>
                </a:cubicBezTo>
                <a:close/>
              </a:path>
            </a:pathLst>
          </a:custGeom>
          <a:solidFill>
            <a:srgbClr val="FF8026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2" name="íş1idé"/>
          <p:cNvSpPr/>
          <p:nvPr userDrawn="1"/>
        </p:nvSpPr>
        <p:spPr>
          <a:xfrm>
            <a:off x="9912421" y="399376"/>
            <a:ext cx="82564" cy="82564"/>
          </a:xfrm>
          <a:custGeom>
            <a:avLst/>
            <a:gdLst>
              <a:gd name="connsiteX0" fmla="*/ 90536 w 82564"/>
              <a:gd name="connsiteY0" fmla="*/ 39817 h 82564"/>
              <a:gd name="connsiteX1" fmla="*/ 61622 w 82564"/>
              <a:gd name="connsiteY1" fmla="*/ 90536 h 82564"/>
              <a:gd name="connsiteX2" fmla="*/ 10903 w 82564"/>
              <a:gd name="connsiteY2" fmla="*/ 61622 h 82564"/>
              <a:gd name="connsiteX3" fmla="*/ 39817 w 82564"/>
              <a:gd name="connsiteY3" fmla="*/ 10903 h 82564"/>
              <a:gd name="connsiteX4" fmla="*/ 90536 w 82564"/>
              <a:gd name="connsiteY4" fmla="*/ 39817 h 82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82564">
                <a:moveTo>
                  <a:pt x="90536" y="39817"/>
                </a:moveTo>
                <a:cubicBezTo>
                  <a:pt x="96557" y="61807"/>
                  <a:pt x="83612" y="84515"/>
                  <a:pt x="61622" y="90536"/>
                </a:cubicBezTo>
                <a:cubicBezTo>
                  <a:pt x="39632" y="96557"/>
                  <a:pt x="16924" y="83612"/>
                  <a:pt x="10903" y="61622"/>
                </a:cubicBezTo>
                <a:cubicBezTo>
                  <a:pt x="4881" y="39632"/>
                  <a:pt x="17826" y="16924"/>
                  <a:pt x="39817" y="10903"/>
                </a:cubicBezTo>
                <a:cubicBezTo>
                  <a:pt x="61807" y="4881"/>
                  <a:pt x="84515" y="17827"/>
                  <a:pt x="90536" y="39817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3" name="ïšļîdê"/>
          <p:cNvSpPr/>
          <p:nvPr userDrawn="1"/>
        </p:nvSpPr>
        <p:spPr>
          <a:xfrm>
            <a:off x="9880348" y="-70108"/>
            <a:ext cx="1954023" cy="577950"/>
          </a:xfrm>
          <a:custGeom>
            <a:avLst/>
            <a:gdLst>
              <a:gd name="connsiteX0" fmla="*/ 1975891 w 1954022"/>
              <a:gd name="connsiteY0" fmla="*/ 0 h 577950"/>
              <a:gd name="connsiteX1" fmla="*/ 104433 w 1954022"/>
              <a:gd name="connsiteY1" fmla="*/ 599968 h 577950"/>
              <a:gd name="connsiteX2" fmla="*/ 2604 w 1954022"/>
              <a:gd name="connsiteY2" fmla="*/ 542173 h 577950"/>
              <a:gd name="connsiteX3" fmla="*/ 60399 w 1954022"/>
              <a:gd name="connsiteY3" fmla="*/ 440343 h 577950"/>
              <a:gd name="connsiteX4" fmla="*/ 1975891 w 1954022"/>
              <a:gd name="connsiteY4" fmla="*/ 0 h 577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4022" h="577950">
                <a:moveTo>
                  <a:pt x="1975891" y="0"/>
                </a:moveTo>
                <a:cubicBezTo>
                  <a:pt x="1975891" y="0"/>
                  <a:pt x="148467" y="586207"/>
                  <a:pt x="104433" y="599968"/>
                </a:cubicBezTo>
                <a:cubicBezTo>
                  <a:pt x="60399" y="610976"/>
                  <a:pt x="13612" y="586207"/>
                  <a:pt x="2604" y="542173"/>
                </a:cubicBezTo>
                <a:cubicBezTo>
                  <a:pt x="-8404" y="498138"/>
                  <a:pt x="16365" y="451352"/>
                  <a:pt x="60399" y="440343"/>
                </a:cubicBezTo>
                <a:cubicBezTo>
                  <a:pt x="107185" y="426582"/>
                  <a:pt x="1975891" y="0"/>
                  <a:pt x="1975891" y="0"/>
                </a:cubicBezTo>
                <a:close/>
              </a:path>
            </a:pathLst>
          </a:custGeom>
          <a:solidFill>
            <a:srgbClr val="FFFFFF">
              <a:alpha val="10000"/>
            </a:srgbClr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4F86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íṡḷïḓê"/>
          <p:cNvSpPr/>
          <p:nvPr userDrawn="1"/>
        </p:nvSpPr>
        <p:spPr>
          <a:xfrm>
            <a:off x="-2359" y="-38530"/>
            <a:ext cx="12192000" cy="6896530"/>
          </a:xfrm>
          <a:prstGeom prst="rect">
            <a:avLst/>
          </a:prstGeom>
          <a:gradFill>
            <a:gsLst>
              <a:gs pos="0">
                <a:srgbClr val="81CBFF"/>
              </a:gs>
              <a:gs pos="100000">
                <a:srgbClr val="4F86FF"/>
              </a:gs>
            </a:gsLst>
            <a:lin ang="5400000" scaled="1"/>
          </a:gra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íṡḷïḓê"/>
          <p:cNvSpPr/>
          <p:nvPr userDrawn="1"/>
        </p:nvSpPr>
        <p:spPr>
          <a:xfrm>
            <a:off x="-2359" y="-38530"/>
            <a:ext cx="12192000" cy="6896530"/>
          </a:xfrm>
          <a:prstGeom prst="rect">
            <a:avLst/>
          </a:prstGeom>
          <a:gradFill>
            <a:gsLst>
              <a:gs pos="0">
                <a:srgbClr val="81CBFF"/>
              </a:gs>
              <a:gs pos="100000">
                <a:srgbClr val="4F86FF"/>
              </a:gs>
            </a:gsLst>
            <a:lin ang="5400000" scaled="1"/>
          </a:gra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grpSp>
        <p:nvGrpSpPr>
          <p:cNvPr id="2" name="组合 1"/>
          <p:cNvGrpSpPr/>
          <p:nvPr userDrawn="1"/>
        </p:nvGrpSpPr>
        <p:grpSpPr>
          <a:xfrm rot="20138802">
            <a:off x="1804890" y="1648101"/>
            <a:ext cx="1257730" cy="3170470"/>
            <a:chOff x="8160109" y="891695"/>
            <a:chExt cx="1257730" cy="3170470"/>
          </a:xfrm>
        </p:grpSpPr>
        <p:sp>
          <p:nvSpPr>
            <p:cNvPr id="7" name="íṩḷîḓè"/>
            <p:cNvSpPr/>
            <p:nvPr userDrawn="1"/>
          </p:nvSpPr>
          <p:spPr>
            <a:xfrm>
              <a:off x="8603205" y="3236522"/>
              <a:ext cx="385300" cy="825643"/>
            </a:xfrm>
            <a:custGeom>
              <a:avLst/>
              <a:gdLst>
                <a:gd name="connsiteX0" fmla="*/ 385300 w 385300"/>
                <a:gd name="connsiteY0" fmla="*/ 192650 h 825643"/>
                <a:gd name="connsiteX1" fmla="*/ 192650 w 385300"/>
                <a:gd name="connsiteY1" fmla="*/ 850413 h 825643"/>
                <a:gd name="connsiteX2" fmla="*/ 0 w 385300"/>
                <a:gd name="connsiteY2" fmla="*/ 192650 h 825643"/>
                <a:gd name="connsiteX3" fmla="*/ 192650 w 385300"/>
                <a:gd name="connsiteY3" fmla="*/ 0 h 825643"/>
                <a:gd name="connsiteX4" fmla="*/ 385300 w 385300"/>
                <a:gd name="connsiteY4" fmla="*/ 192650 h 825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0" h="825643">
                  <a:moveTo>
                    <a:pt x="385300" y="192650"/>
                  </a:moveTo>
                  <a:cubicBezTo>
                    <a:pt x="385300" y="299984"/>
                    <a:pt x="192650" y="850413"/>
                    <a:pt x="192650" y="850413"/>
                  </a:cubicBezTo>
                  <a:cubicBezTo>
                    <a:pt x="192650" y="850413"/>
                    <a:pt x="0" y="297232"/>
                    <a:pt x="0" y="192650"/>
                  </a:cubicBezTo>
                  <a:cubicBezTo>
                    <a:pt x="0" y="85316"/>
                    <a:pt x="85317" y="0"/>
                    <a:pt x="192650" y="0"/>
                  </a:cubicBezTo>
                  <a:cubicBezTo>
                    <a:pt x="299984" y="0"/>
                    <a:pt x="385300" y="85316"/>
                    <a:pt x="385300" y="192650"/>
                  </a:cubicBezTo>
                  <a:close/>
                </a:path>
              </a:pathLst>
            </a:custGeom>
            <a:solidFill>
              <a:srgbClr val="FFC72B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iṡļíḍe"/>
            <p:cNvSpPr/>
            <p:nvPr userDrawn="1"/>
          </p:nvSpPr>
          <p:spPr>
            <a:xfrm>
              <a:off x="8578436" y="3123684"/>
              <a:ext cx="412822" cy="247693"/>
            </a:xfrm>
            <a:custGeom>
              <a:avLst/>
              <a:gdLst>
                <a:gd name="connsiteX0" fmla="*/ 434839 w 412821"/>
                <a:gd name="connsiteY0" fmla="*/ 247693 h 247693"/>
                <a:gd name="connsiteX1" fmla="*/ 0 w 412821"/>
                <a:gd name="connsiteY1" fmla="*/ 247693 h 247693"/>
                <a:gd name="connsiteX2" fmla="*/ 35778 w 412821"/>
                <a:gd name="connsiteY2" fmla="*/ 0 h 247693"/>
                <a:gd name="connsiteX3" fmla="*/ 399061 w 412821"/>
                <a:gd name="connsiteY3" fmla="*/ 0 h 247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2821" h="247693">
                  <a:moveTo>
                    <a:pt x="434839" y="247693"/>
                  </a:moveTo>
                  <a:lnTo>
                    <a:pt x="0" y="247693"/>
                  </a:lnTo>
                  <a:lnTo>
                    <a:pt x="35778" y="0"/>
                  </a:lnTo>
                  <a:lnTo>
                    <a:pt x="399061" y="0"/>
                  </a:lnTo>
                  <a:close/>
                </a:path>
              </a:pathLst>
            </a:custGeom>
            <a:solidFill>
              <a:srgbClr val="526075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íšḻïḓé"/>
            <p:cNvSpPr/>
            <p:nvPr userDrawn="1"/>
          </p:nvSpPr>
          <p:spPr>
            <a:xfrm>
              <a:off x="8160109" y="2765905"/>
              <a:ext cx="385300" cy="880686"/>
            </a:xfrm>
            <a:custGeom>
              <a:avLst/>
              <a:gdLst>
                <a:gd name="connsiteX0" fmla="*/ 322001 w 385300"/>
                <a:gd name="connsiteY0" fmla="*/ 0 h 880686"/>
                <a:gd name="connsiteX1" fmla="*/ 0 w 385300"/>
                <a:gd name="connsiteY1" fmla="*/ 330257 h 880686"/>
                <a:gd name="connsiteX2" fmla="*/ 283471 w 385300"/>
                <a:gd name="connsiteY2" fmla="*/ 880686 h 880686"/>
                <a:gd name="connsiteX3" fmla="*/ 399061 w 385300"/>
                <a:gd name="connsiteY3" fmla="*/ 880686 h 880686"/>
                <a:gd name="connsiteX4" fmla="*/ 399061 w 385300"/>
                <a:gd name="connsiteY4" fmla="*/ 0 h 880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0" h="880686">
                  <a:moveTo>
                    <a:pt x="322001" y="0"/>
                  </a:moveTo>
                  <a:lnTo>
                    <a:pt x="0" y="330257"/>
                  </a:lnTo>
                  <a:lnTo>
                    <a:pt x="283471" y="880686"/>
                  </a:lnTo>
                  <a:lnTo>
                    <a:pt x="399061" y="880686"/>
                  </a:lnTo>
                  <a:lnTo>
                    <a:pt x="399061" y="0"/>
                  </a:lnTo>
                  <a:close/>
                </a:path>
              </a:pathLst>
            </a:custGeom>
            <a:solidFill>
              <a:srgbClr val="CBF060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îṥļïďe"/>
            <p:cNvSpPr/>
            <p:nvPr userDrawn="1"/>
          </p:nvSpPr>
          <p:spPr>
            <a:xfrm>
              <a:off x="9032539" y="2765905"/>
              <a:ext cx="385300" cy="880686"/>
            </a:xfrm>
            <a:custGeom>
              <a:avLst/>
              <a:gdLst>
                <a:gd name="connsiteX0" fmla="*/ 74307 w 385300"/>
                <a:gd name="connsiteY0" fmla="*/ 0 h 880686"/>
                <a:gd name="connsiteX1" fmla="*/ 399061 w 385300"/>
                <a:gd name="connsiteY1" fmla="*/ 330257 h 880686"/>
                <a:gd name="connsiteX2" fmla="*/ 115590 w 385300"/>
                <a:gd name="connsiteY2" fmla="*/ 880686 h 880686"/>
                <a:gd name="connsiteX3" fmla="*/ 0 w 385300"/>
                <a:gd name="connsiteY3" fmla="*/ 880686 h 880686"/>
                <a:gd name="connsiteX4" fmla="*/ 0 w 385300"/>
                <a:gd name="connsiteY4" fmla="*/ 0 h 880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0" h="880686">
                  <a:moveTo>
                    <a:pt x="74307" y="0"/>
                  </a:moveTo>
                  <a:lnTo>
                    <a:pt x="399061" y="330257"/>
                  </a:lnTo>
                  <a:lnTo>
                    <a:pt x="115590" y="880686"/>
                  </a:lnTo>
                  <a:lnTo>
                    <a:pt x="0" y="88068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BF060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iṧlîḍê"/>
            <p:cNvSpPr/>
            <p:nvPr userDrawn="1"/>
          </p:nvSpPr>
          <p:spPr>
            <a:xfrm>
              <a:off x="8290252" y="1629270"/>
              <a:ext cx="990772" cy="1596244"/>
            </a:xfrm>
            <a:custGeom>
              <a:avLst/>
              <a:gdLst>
                <a:gd name="connsiteX0" fmla="*/ 978972 w 990772"/>
                <a:gd name="connsiteY0" fmla="*/ 0 h 1596243"/>
                <a:gd name="connsiteX1" fmla="*/ 505603 w 990772"/>
                <a:gd name="connsiteY1" fmla="*/ 85316 h 1596243"/>
                <a:gd name="connsiteX2" fmla="*/ 32234 w 990772"/>
                <a:gd name="connsiteY2" fmla="*/ 0 h 1596243"/>
                <a:gd name="connsiteX3" fmla="*/ 268919 w 990772"/>
                <a:gd name="connsiteY3" fmla="*/ 1604500 h 1596243"/>
                <a:gd name="connsiteX4" fmla="*/ 505603 w 990772"/>
                <a:gd name="connsiteY4" fmla="*/ 1604500 h 1596243"/>
                <a:gd name="connsiteX5" fmla="*/ 742288 w 990772"/>
                <a:gd name="connsiteY5" fmla="*/ 1604500 h 1596243"/>
                <a:gd name="connsiteX6" fmla="*/ 978972 w 990772"/>
                <a:gd name="connsiteY6" fmla="*/ 0 h 1596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0772" h="1596243">
                  <a:moveTo>
                    <a:pt x="978972" y="0"/>
                  </a:moveTo>
                  <a:lnTo>
                    <a:pt x="505603" y="85316"/>
                  </a:lnTo>
                  <a:lnTo>
                    <a:pt x="32234" y="0"/>
                  </a:lnTo>
                  <a:cubicBezTo>
                    <a:pt x="-110877" y="935729"/>
                    <a:pt x="268919" y="1604500"/>
                    <a:pt x="268919" y="1604500"/>
                  </a:cubicBezTo>
                  <a:lnTo>
                    <a:pt x="505603" y="1604500"/>
                  </a:lnTo>
                  <a:lnTo>
                    <a:pt x="742288" y="1604500"/>
                  </a:lnTo>
                  <a:cubicBezTo>
                    <a:pt x="742288" y="1607252"/>
                    <a:pt x="1119331" y="935729"/>
                    <a:pt x="978972" y="0"/>
                  </a:cubicBezTo>
                  <a:close/>
                </a:path>
              </a:pathLst>
            </a:custGeom>
            <a:solidFill>
              <a:srgbClr val="FFFFFF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íSļíḑè"/>
            <p:cNvSpPr/>
            <p:nvPr userDrawn="1"/>
          </p:nvSpPr>
          <p:spPr>
            <a:xfrm>
              <a:off x="8322486" y="891695"/>
              <a:ext cx="935729" cy="825643"/>
            </a:xfrm>
            <a:custGeom>
              <a:avLst/>
              <a:gdLst>
                <a:gd name="connsiteX0" fmla="*/ 473369 w 935729"/>
                <a:gd name="connsiteY0" fmla="*/ 0 h 825643"/>
                <a:gd name="connsiteX1" fmla="*/ 0 w 935729"/>
                <a:gd name="connsiteY1" fmla="*/ 737575 h 825643"/>
                <a:gd name="connsiteX2" fmla="*/ 473369 w 935729"/>
                <a:gd name="connsiteY2" fmla="*/ 842156 h 825643"/>
                <a:gd name="connsiteX3" fmla="*/ 946738 w 935729"/>
                <a:gd name="connsiteY3" fmla="*/ 737575 h 825643"/>
                <a:gd name="connsiteX4" fmla="*/ 473369 w 935729"/>
                <a:gd name="connsiteY4" fmla="*/ 0 h 825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5729" h="825643">
                  <a:moveTo>
                    <a:pt x="473369" y="0"/>
                  </a:moveTo>
                  <a:cubicBezTo>
                    <a:pt x="88069" y="288975"/>
                    <a:pt x="0" y="737575"/>
                    <a:pt x="0" y="737575"/>
                  </a:cubicBezTo>
                  <a:cubicBezTo>
                    <a:pt x="0" y="737575"/>
                    <a:pt x="211915" y="842156"/>
                    <a:pt x="473369" y="842156"/>
                  </a:cubicBezTo>
                  <a:cubicBezTo>
                    <a:pt x="734823" y="842156"/>
                    <a:pt x="946738" y="737575"/>
                    <a:pt x="946738" y="737575"/>
                  </a:cubicBezTo>
                  <a:cubicBezTo>
                    <a:pt x="946738" y="737575"/>
                    <a:pt x="858669" y="288975"/>
                    <a:pt x="473369" y="0"/>
                  </a:cubicBezTo>
                  <a:close/>
                </a:path>
              </a:pathLst>
            </a:custGeom>
            <a:solidFill>
              <a:srgbClr val="CBF060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ísḻïdê"/>
            <p:cNvSpPr/>
            <p:nvPr userDrawn="1"/>
          </p:nvSpPr>
          <p:spPr>
            <a:xfrm>
              <a:off x="8526145" y="1821920"/>
              <a:ext cx="522907" cy="522907"/>
            </a:xfrm>
            <a:custGeom>
              <a:avLst/>
              <a:gdLst>
                <a:gd name="connsiteX0" fmla="*/ 539420 w 522907"/>
                <a:gd name="connsiteY0" fmla="*/ 269710 h 522907"/>
                <a:gd name="connsiteX1" fmla="*/ 269710 w 522907"/>
                <a:gd name="connsiteY1" fmla="*/ 539420 h 522907"/>
                <a:gd name="connsiteX2" fmla="*/ 1 w 522907"/>
                <a:gd name="connsiteY2" fmla="*/ 269710 h 522907"/>
                <a:gd name="connsiteX3" fmla="*/ 269710 w 522907"/>
                <a:gd name="connsiteY3" fmla="*/ 0 h 522907"/>
                <a:gd name="connsiteX4" fmla="*/ 539420 w 522907"/>
                <a:gd name="connsiteY4" fmla="*/ 269710 h 52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907" h="522907">
                  <a:moveTo>
                    <a:pt x="539420" y="269710"/>
                  </a:moveTo>
                  <a:cubicBezTo>
                    <a:pt x="539420" y="418667"/>
                    <a:pt x="418667" y="539420"/>
                    <a:pt x="269710" y="539420"/>
                  </a:cubicBezTo>
                  <a:cubicBezTo>
                    <a:pt x="120754" y="539420"/>
                    <a:pt x="1" y="418667"/>
                    <a:pt x="1" y="269710"/>
                  </a:cubicBezTo>
                  <a:cubicBezTo>
                    <a:pt x="1" y="120753"/>
                    <a:pt x="120754" y="0"/>
                    <a:pt x="269710" y="0"/>
                  </a:cubicBezTo>
                  <a:cubicBezTo>
                    <a:pt x="418667" y="0"/>
                    <a:pt x="539420" y="120753"/>
                    <a:pt x="539420" y="269710"/>
                  </a:cubicBezTo>
                  <a:close/>
                </a:path>
              </a:pathLst>
            </a:custGeom>
            <a:solidFill>
              <a:srgbClr val="BFC5F2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ïšļíďe"/>
            <p:cNvSpPr/>
            <p:nvPr userDrawn="1"/>
          </p:nvSpPr>
          <p:spPr>
            <a:xfrm>
              <a:off x="8526145" y="1794398"/>
              <a:ext cx="522907" cy="522907"/>
            </a:xfrm>
            <a:custGeom>
              <a:avLst/>
              <a:gdLst>
                <a:gd name="connsiteX0" fmla="*/ 539420 w 522907"/>
                <a:gd name="connsiteY0" fmla="*/ 269710 h 522907"/>
                <a:gd name="connsiteX1" fmla="*/ 269710 w 522907"/>
                <a:gd name="connsiteY1" fmla="*/ 539420 h 522907"/>
                <a:gd name="connsiteX2" fmla="*/ 1 w 522907"/>
                <a:gd name="connsiteY2" fmla="*/ 269710 h 522907"/>
                <a:gd name="connsiteX3" fmla="*/ 269710 w 522907"/>
                <a:gd name="connsiteY3" fmla="*/ 0 h 522907"/>
                <a:gd name="connsiteX4" fmla="*/ 539420 w 522907"/>
                <a:gd name="connsiteY4" fmla="*/ 269710 h 52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907" h="522907">
                  <a:moveTo>
                    <a:pt x="539420" y="269710"/>
                  </a:moveTo>
                  <a:cubicBezTo>
                    <a:pt x="539420" y="418667"/>
                    <a:pt x="418667" y="539420"/>
                    <a:pt x="269710" y="539420"/>
                  </a:cubicBezTo>
                  <a:cubicBezTo>
                    <a:pt x="120754" y="539420"/>
                    <a:pt x="1" y="418667"/>
                    <a:pt x="1" y="269710"/>
                  </a:cubicBezTo>
                  <a:cubicBezTo>
                    <a:pt x="1" y="120753"/>
                    <a:pt x="120754" y="0"/>
                    <a:pt x="269710" y="0"/>
                  </a:cubicBezTo>
                  <a:cubicBezTo>
                    <a:pt x="418667" y="0"/>
                    <a:pt x="539420" y="120753"/>
                    <a:pt x="539420" y="269710"/>
                  </a:cubicBezTo>
                  <a:close/>
                </a:path>
              </a:pathLst>
            </a:custGeom>
            <a:solidFill>
              <a:srgbClr val="FFFFFF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ïṣļíḋè"/>
            <p:cNvSpPr/>
            <p:nvPr userDrawn="1"/>
          </p:nvSpPr>
          <p:spPr>
            <a:xfrm>
              <a:off x="8570179" y="1838433"/>
              <a:ext cx="440343" cy="440343"/>
            </a:xfrm>
            <a:custGeom>
              <a:avLst/>
              <a:gdLst>
                <a:gd name="connsiteX0" fmla="*/ 451351 w 440343"/>
                <a:gd name="connsiteY0" fmla="*/ 225676 h 440343"/>
                <a:gd name="connsiteX1" fmla="*/ 225675 w 440343"/>
                <a:gd name="connsiteY1" fmla="*/ 451352 h 440343"/>
                <a:gd name="connsiteX2" fmla="*/ -1 w 440343"/>
                <a:gd name="connsiteY2" fmla="*/ 225676 h 440343"/>
                <a:gd name="connsiteX3" fmla="*/ 225675 w 440343"/>
                <a:gd name="connsiteY3" fmla="*/ 0 h 440343"/>
                <a:gd name="connsiteX4" fmla="*/ 451351 w 440343"/>
                <a:gd name="connsiteY4" fmla="*/ 225676 h 440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0343" h="440343">
                  <a:moveTo>
                    <a:pt x="451351" y="225676"/>
                  </a:moveTo>
                  <a:cubicBezTo>
                    <a:pt x="451351" y="350313"/>
                    <a:pt x="350313" y="451352"/>
                    <a:pt x="225675" y="451352"/>
                  </a:cubicBezTo>
                  <a:cubicBezTo>
                    <a:pt x="101038" y="451352"/>
                    <a:pt x="-1" y="350313"/>
                    <a:pt x="-1" y="225676"/>
                  </a:cubicBezTo>
                  <a:cubicBezTo>
                    <a:pt x="-1" y="101039"/>
                    <a:pt x="101038" y="0"/>
                    <a:pt x="225675" y="0"/>
                  </a:cubicBezTo>
                  <a:cubicBezTo>
                    <a:pt x="350313" y="0"/>
                    <a:pt x="451351" y="101039"/>
                    <a:pt x="451351" y="225676"/>
                  </a:cubicBezTo>
                  <a:close/>
                </a:path>
              </a:pathLst>
            </a:custGeom>
            <a:solidFill>
              <a:srgbClr val="364459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íṩļîḍê"/>
            <p:cNvSpPr/>
            <p:nvPr userDrawn="1"/>
          </p:nvSpPr>
          <p:spPr>
            <a:xfrm>
              <a:off x="8572931" y="1863202"/>
              <a:ext cx="440343" cy="412822"/>
            </a:xfrm>
            <a:custGeom>
              <a:avLst/>
              <a:gdLst>
                <a:gd name="connsiteX0" fmla="*/ 222924 w 440343"/>
                <a:gd name="connsiteY0" fmla="*/ 0 h 412821"/>
                <a:gd name="connsiteX1" fmla="*/ 0 w 440343"/>
                <a:gd name="connsiteY1" fmla="*/ 211915 h 412821"/>
                <a:gd name="connsiteX2" fmla="*/ 222924 w 440343"/>
                <a:gd name="connsiteY2" fmla="*/ 423830 h 412821"/>
                <a:gd name="connsiteX3" fmla="*/ 445848 w 440343"/>
                <a:gd name="connsiteY3" fmla="*/ 211915 h 412821"/>
                <a:gd name="connsiteX4" fmla="*/ 222924 w 440343"/>
                <a:gd name="connsiteY4" fmla="*/ 0 h 412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0343" h="412821">
                  <a:moveTo>
                    <a:pt x="222924" y="0"/>
                  </a:moveTo>
                  <a:cubicBezTo>
                    <a:pt x="101830" y="0"/>
                    <a:pt x="5505" y="93573"/>
                    <a:pt x="0" y="211915"/>
                  </a:cubicBezTo>
                  <a:cubicBezTo>
                    <a:pt x="5505" y="330257"/>
                    <a:pt x="104581" y="423830"/>
                    <a:pt x="222924" y="423830"/>
                  </a:cubicBezTo>
                  <a:cubicBezTo>
                    <a:pt x="344018" y="423830"/>
                    <a:pt x="440343" y="330257"/>
                    <a:pt x="445848" y="211915"/>
                  </a:cubicBezTo>
                  <a:cubicBezTo>
                    <a:pt x="440343" y="93573"/>
                    <a:pt x="344018" y="0"/>
                    <a:pt x="222924" y="0"/>
                  </a:cubicBezTo>
                  <a:close/>
                </a:path>
              </a:pathLst>
            </a:custGeom>
            <a:solidFill>
              <a:srgbClr val="526075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iṩḻîdè"/>
            <p:cNvSpPr/>
            <p:nvPr userDrawn="1"/>
          </p:nvSpPr>
          <p:spPr>
            <a:xfrm>
              <a:off x="8570179" y="1841185"/>
              <a:ext cx="412822" cy="330257"/>
            </a:xfrm>
            <a:custGeom>
              <a:avLst/>
              <a:gdLst>
                <a:gd name="connsiteX0" fmla="*/ 225676 w 412821"/>
                <a:gd name="connsiteY0" fmla="*/ 0 h 330257"/>
                <a:gd name="connsiteX1" fmla="*/ 0 w 412821"/>
                <a:gd name="connsiteY1" fmla="*/ 225676 h 330257"/>
                <a:gd name="connsiteX2" fmla="*/ 38530 w 412821"/>
                <a:gd name="connsiteY2" fmla="*/ 349522 h 330257"/>
                <a:gd name="connsiteX3" fmla="*/ 421079 w 412821"/>
                <a:gd name="connsiteY3" fmla="*/ 115590 h 330257"/>
                <a:gd name="connsiteX4" fmla="*/ 225676 w 412821"/>
                <a:gd name="connsiteY4" fmla="*/ 0 h 330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821" h="330257">
                  <a:moveTo>
                    <a:pt x="225676" y="0"/>
                  </a:moveTo>
                  <a:cubicBezTo>
                    <a:pt x="101830" y="0"/>
                    <a:pt x="0" y="101829"/>
                    <a:pt x="0" y="225676"/>
                  </a:cubicBezTo>
                  <a:cubicBezTo>
                    <a:pt x="0" y="272462"/>
                    <a:pt x="13761" y="313745"/>
                    <a:pt x="38530" y="349522"/>
                  </a:cubicBezTo>
                  <a:lnTo>
                    <a:pt x="421079" y="115590"/>
                  </a:lnTo>
                  <a:cubicBezTo>
                    <a:pt x="382548" y="44034"/>
                    <a:pt x="308241" y="0"/>
                    <a:pt x="225676" y="0"/>
                  </a:cubicBezTo>
                  <a:close/>
                </a:path>
              </a:pathLst>
            </a:custGeom>
            <a:solidFill>
              <a:srgbClr val="FFFFFF">
                <a:alpha val="20000"/>
              </a:srgbClr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îSlîḍé"/>
            <p:cNvSpPr/>
            <p:nvPr userDrawn="1"/>
          </p:nvSpPr>
          <p:spPr>
            <a:xfrm>
              <a:off x="8476606" y="3054881"/>
              <a:ext cx="632993" cy="27521"/>
            </a:xfrm>
            <a:custGeom>
              <a:avLst/>
              <a:gdLst>
                <a:gd name="connsiteX0" fmla="*/ 638498 w 632993"/>
                <a:gd name="connsiteY0" fmla="*/ 0 h 27521"/>
                <a:gd name="connsiteX1" fmla="*/ 0 w 632993"/>
                <a:gd name="connsiteY1" fmla="*/ 0 h 27521"/>
                <a:gd name="connsiteX2" fmla="*/ 11008 w 632993"/>
                <a:gd name="connsiteY2" fmla="*/ 27521 h 27521"/>
                <a:gd name="connsiteX3" fmla="*/ 624737 w 632993"/>
                <a:gd name="connsiteY3" fmla="*/ 27521 h 27521"/>
                <a:gd name="connsiteX4" fmla="*/ 638498 w 632993"/>
                <a:gd name="connsiteY4" fmla="*/ 0 h 27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2993" h="27521">
                  <a:moveTo>
                    <a:pt x="638498" y="0"/>
                  </a:moveTo>
                  <a:lnTo>
                    <a:pt x="0" y="0"/>
                  </a:lnTo>
                  <a:cubicBezTo>
                    <a:pt x="2752" y="8257"/>
                    <a:pt x="8256" y="19265"/>
                    <a:pt x="11008" y="27521"/>
                  </a:cubicBezTo>
                  <a:lnTo>
                    <a:pt x="624737" y="27521"/>
                  </a:lnTo>
                  <a:cubicBezTo>
                    <a:pt x="630241" y="19265"/>
                    <a:pt x="632993" y="8257"/>
                    <a:pt x="638498" y="0"/>
                  </a:cubicBezTo>
                  <a:close/>
                </a:path>
              </a:pathLst>
            </a:custGeom>
            <a:solidFill>
              <a:srgbClr val="BFC5F2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îšľîḋe"/>
            <p:cNvSpPr/>
            <p:nvPr userDrawn="1"/>
          </p:nvSpPr>
          <p:spPr>
            <a:xfrm>
              <a:off x="8416058" y="2878743"/>
              <a:ext cx="743079" cy="27521"/>
            </a:xfrm>
            <a:custGeom>
              <a:avLst/>
              <a:gdLst>
                <a:gd name="connsiteX0" fmla="*/ 0 w 743079"/>
                <a:gd name="connsiteY0" fmla="*/ 0 h 27521"/>
                <a:gd name="connsiteX1" fmla="*/ 8257 w 743079"/>
                <a:gd name="connsiteY1" fmla="*/ 27521 h 27521"/>
                <a:gd name="connsiteX2" fmla="*/ 751336 w 743079"/>
                <a:gd name="connsiteY2" fmla="*/ 27521 h 27521"/>
                <a:gd name="connsiteX3" fmla="*/ 759592 w 743079"/>
                <a:gd name="connsiteY3" fmla="*/ 0 h 27521"/>
                <a:gd name="connsiteX4" fmla="*/ 0 w 743079"/>
                <a:gd name="connsiteY4" fmla="*/ 0 h 27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3079" h="27521">
                  <a:moveTo>
                    <a:pt x="0" y="0"/>
                  </a:moveTo>
                  <a:cubicBezTo>
                    <a:pt x="2752" y="8257"/>
                    <a:pt x="5505" y="19265"/>
                    <a:pt x="8257" y="27521"/>
                  </a:cubicBezTo>
                  <a:lnTo>
                    <a:pt x="751336" y="27521"/>
                  </a:lnTo>
                  <a:cubicBezTo>
                    <a:pt x="754088" y="19265"/>
                    <a:pt x="756840" y="8257"/>
                    <a:pt x="75959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BFC5F2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22" name="îṧḻiḓê"/>
          <p:cNvSpPr/>
          <p:nvPr userDrawn="1"/>
        </p:nvSpPr>
        <p:spPr>
          <a:xfrm>
            <a:off x="2603530" y="1210944"/>
            <a:ext cx="880686" cy="330257"/>
          </a:xfrm>
          <a:custGeom>
            <a:avLst/>
            <a:gdLst>
              <a:gd name="connsiteX0" fmla="*/ 0 w 880686"/>
              <a:gd name="connsiteY0" fmla="*/ 305488 h 330257"/>
              <a:gd name="connsiteX1" fmla="*/ 173385 w 880686"/>
              <a:gd name="connsiteY1" fmla="*/ 330257 h 330257"/>
              <a:gd name="connsiteX2" fmla="*/ 294480 w 880686"/>
              <a:gd name="connsiteY2" fmla="*/ 203659 h 330257"/>
              <a:gd name="connsiteX3" fmla="*/ 467865 w 880686"/>
              <a:gd name="connsiteY3" fmla="*/ 228428 h 330257"/>
              <a:gd name="connsiteX4" fmla="*/ 588959 w 880686"/>
              <a:gd name="connsiteY4" fmla="*/ 101829 h 330257"/>
              <a:gd name="connsiteX5" fmla="*/ 762344 w 880686"/>
              <a:gd name="connsiteY5" fmla="*/ 126599 h 330257"/>
              <a:gd name="connsiteX6" fmla="*/ 883438 w 880686"/>
              <a:gd name="connsiteY6" fmla="*/ 0 h 3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0686" h="330257">
                <a:moveTo>
                  <a:pt x="0" y="305488"/>
                </a:moveTo>
                <a:lnTo>
                  <a:pt x="173385" y="330257"/>
                </a:lnTo>
                <a:lnTo>
                  <a:pt x="294480" y="203659"/>
                </a:lnTo>
                <a:lnTo>
                  <a:pt x="467865" y="228428"/>
                </a:lnTo>
                <a:lnTo>
                  <a:pt x="588959" y="101829"/>
                </a:lnTo>
                <a:lnTo>
                  <a:pt x="762344" y="126599"/>
                </a:lnTo>
                <a:lnTo>
                  <a:pt x="883438" y="0"/>
                </a:lnTo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4" name="iSḷíḋe"/>
          <p:cNvSpPr/>
          <p:nvPr userDrawn="1"/>
        </p:nvSpPr>
        <p:spPr>
          <a:xfrm>
            <a:off x="6745507" y="3330095"/>
            <a:ext cx="137607" cy="137607"/>
          </a:xfrm>
          <a:custGeom>
            <a:avLst/>
            <a:gdLst>
              <a:gd name="connsiteX0" fmla="*/ 137607 w 137607"/>
              <a:gd name="connsiteY0" fmla="*/ 68804 h 137607"/>
              <a:gd name="connsiteX1" fmla="*/ 68804 w 137607"/>
              <a:gd name="connsiteY1" fmla="*/ 137607 h 137607"/>
              <a:gd name="connsiteX2" fmla="*/ 0 w 137607"/>
              <a:gd name="connsiteY2" fmla="*/ 68804 h 137607"/>
              <a:gd name="connsiteX3" fmla="*/ 68804 w 137607"/>
              <a:gd name="connsiteY3" fmla="*/ 0 h 137607"/>
              <a:gd name="connsiteX4" fmla="*/ 137607 w 137607"/>
              <a:gd name="connsiteY4" fmla="*/ 68804 h 137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7607" h="137607">
                <a:moveTo>
                  <a:pt x="137607" y="68804"/>
                </a:moveTo>
                <a:cubicBezTo>
                  <a:pt x="137607" y="106803"/>
                  <a:pt x="106803" y="137607"/>
                  <a:pt x="68804" y="137607"/>
                </a:cubicBezTo>
                <a:cubicBezTo>
                  <a:pt x="30805" y="137607"/>
                  <a:pt x="0" y="106803"/>
                  <a:pt x="0" y="68804"/>
                </a:cubicBezTo>
                <a:cubicBezTo>
                  <a:pt x="0" y="30804"/>
                  <a:pt x="30805" y="0"/>
                  <a:pt x="68804" y="0"/>
                </a:cubicBezTo>
                <a:cubicBezTo>
                  <a:pt x="106803" y="0"/>
                  <a:pt x="137607" y="30804"/>
                  <a:pt x="137607" y="68804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5" name="ïŝḷïḑé"/>
          <p:cNvSpPr/>
          <p:nvPr userDrawn="1"/>
        </p:nvSpPr>
        <p:spPr>
          <a:xfrm>
            <a:off x="985269" y="927473"/>
            <a:ext cx="82564" cy="82564"/>
          </a:xfrm>
          <a:custGeom>
            <a:avLst/>
            <a:gdLst>
              <a:gd name="connsiteX0" fmla="*/ 104581 w 82564"/>
              <a:gd name="connsiteY0" fmla="*/ 52291 h 82564"/>
              <a:gd name="connsiteX1" fmla="*/ 52291 w 82564"/>
              <a:gd name="connsiteY1" fmla="*/ 104582 h 82564"/>
              <a:gd name="connsiteX2" fmla="*/ 0 w 82564"/>
              <a:gd name="connsiteY2" fmla="*/ 52291 h 82564"/>
              <a:gd name="connsiteX3" fmla="*/ 52291 w 82564"/>
              <a:gd name="connsiteY3" fmla="*/ 0 h 82564"/>
              <a:gd name="connsiteX4" fmla="*/ 104581 w 82564"/>
              <a:gd name="connsiteY4" fmla="*/ 52291 h 82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82564">
                <a:moveTo>
                  <a:pt x="104581" y="52291"/>
                </a:moveTo>
                <a:cubicBezTo>
                  <a:pt x="104581" y="81170"/>
                  <a:pt x="81170" y="104582"/>
                  <a:pt x="52291" y="104582"/>
                </a:cubicBezTo>
                <a:cubicBezTo>
                  <a:pt x="23411" y="104582"/>
                  <a:pt x="0" y="81170"/>
                  <a:pt x="0" y="52291"/>
                </a:cubicBezTo>
                <a:cubicBezTo>
                  <a:pt x="0" y="23411"/>
                  <a:pt x="23411" y="0"/>
                  <a:pt x="52291" y="0"/>
                </a:cubicBezTo>
                <a:cubicBezTo>
                  <a:pt x="81170" y="0"/>
                  <a:pt x="104581" y="23411"/>
                  <a:pt x="104581" y="52291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6" name="isḻiďê"/>
          <p:cNvSpPr/>
          <p:nvPr userDrawn="1"/>
        </p:nvSpPr>
        <p:spPr>
          <a:xfrm>
            <a:off x="10675569" y="3365873"/>
            <a:ext cx="192650" cy="192650"/>
          </a:xfrm>
          <a:custGeom>
            <a:avLst/>
            <a:gdLst>
              <a:gd name="connsiteX0" fmla="*/ 192650 w 192650"/>
              <a:gd name="connsiteY0" fmla="*/ 96325 h 192650"/>
              <a:gd name="connsiteX1" fmla="*/ 96325 w 192650"/>
              <a:gd name="connsiteY1" fmla="*/ 192650 h 192650"/>
              <a:gd name="connsiteX2" fmla="*/ 0 w 192650"/>
              <a:gd name="connsiteY2" fmla="*/ 96325 h 192650"/>
              <a:gd name="connsiteX3" fmla="*/ 96325 w 192650"/>
              <a:gd name="connsiteY3" fmla="*/ 0 h 192650"/>
              <a:gd name="connsiteX4" fmla="*/ 192650 w 192650"/>
              <a:gd name="connsiteY4" fmla="*/ 96325 h 192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650" h="192650">
                <a:moveTo>
                  <a:pt x="192650" y="96325"/>
                </a:moveTo>
                <a:cubicBezTo>
                  <a:pt x="192650" y="149524"/>
                  <a:pt x="149523" y="192650"/>
                  <a:pt x="96325" y="192650"/>
                </a:cubicBezTo>
                <a:cubicBezTo>
                  <a:pt x="43126" y="192650"/>
                  <a:pt x="0" y="149524"/>
                  <a:pt x="0" y="96325"/>
                </a:cubicBezTo>
                <a:cubicBezTo>
                  <a:pt x="0" y="43126"/>
                  <a:pt x="43126" y="0"/>
                  <a:pt x="96325" y="0"/>
                </a:cubicBezTo>
                <a:cubicBezTo>
                  <a:pt x="149523" y="0"/>
                  <a:pt x="192650" y="43126"/>
                  <a:pt x="192650" y="96325"/>
                </a:cubicBezTo>
                <a:close/>
              </a:path>
            </a:pathLst>
          </a:custGeom>
          <a:noFill/>
          <a:ln w="13761" cap="rnd">
            <a:solidFill>
              <a:srgbClr val="FFFFFF"/>
            </a:solidFill>
            <a:prstDash val="solid"/>
            <a:round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2" name="ï$1iḓè"/>
          <p:cNvSpPr/>
          <p:nvPr userDrawn="1"/>
        </p:nvSpPr>
        <p:spPr>
          <a:xfrm>
            <a:off x="10152662" y="2691598"/>
            <a:ext cx="440343" cy="440343"/>
          </a:xfrm>
          <a:custGeom>
            <a:avLst/>
            <a:gdLst>
              <a:gd name="connsiteX0" fmla="*/ 162376 w 440343"/>
              <a:gd name="connsiteY0" fmla="*/ 443095 h 440343"/>
              <a:gd name="connsiteX1" fmla="*/ 0 w 440343"/>
              <a:gd name="connsiteY1" fmla="*/ 162376 h 440343"/>
              <a:gd name="connsiteX2" fmla="*/ 280719 w 440343"/>
              <a:gd name="connsiteY2" fmla="*/ 0 h 440343"/>
              <a:gd name="connsiteX3" fmla="*/ 443095 w 440343"/>
              <a:gd name="connsiteY3" fmla="*/ 280719 h 440343"/>
              <a:gd name="connsiteX4" fmla="*/ 162376 w 440343"/>
              <a:gd name="connsiteY4" fmla="*/ 443095 h 440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343" h="440343">
                <a:moveTo>
                  <a:pt x="162376" y="443095"/>
                </a:moveTo>
                <a:cubicBezTo>
                  <a:pt x="214668" y="239437"/>
                  <a:pt x="203659" y="217419"/>
                  <a:pt x="0" y="162376"/>
                </a:cubicBezTo>
                <a:cubicBezTo>
                  <a:pt x="203659" y="214667"/>
                  <a:pt x="225676" y="203659"/>
                  <a:pt x="280719" y="0"/>
                </a:cubicBezTo>
                <a:cubicBezTo>
                  <a:pt x="228429" y="203659"/>
                  <a:pt x="239437" y="225676"/>
                  <a:pt x="443095" y="280719"/>
                </a:cubicBezTo>
                <a:cubicBezTo>
                  <a:pt x="236685" y="228428"/>
                  <a:pt x="217419" y="239437"/>
                  <a:pt x="162376" y="443095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3" name="ïŝlíďé"/>
          <p:cNvSpPr/>
          <p:nvPr userDrawn="1"/>
        </p:nvSpPr>
        <p:spPr>
          <a:xfrm>
            <a:off x="3385139" y="1981544"/>
            <a:ext cx="275214" cy="275214"/>
          </a:xfrm>
          <a:custGeom>
            <a:avLst/>
            <a:gdLst>
              <a:gd name="connsiteX0" fmla="*/ 220172 w 275214"/>
              <a:gd name="connsiteY0" fmla="*/ 277967 h 275214"/>
              <a:gd name="connsiteX1" fmla="*/ 0 w 275214"/>
              <a:gd name="connsiteY1" fmla="*/ 220172 h 275214"/>
              <a:gd name="connsiteX2" fmla="*/ 57795 w 275214"/>
              <a:gd name="connsiteY2" fmla="*/ 0 h 275214"/>
              <a:gd name="connsiteX3" fmla="*/ 277967 w 275214"/>
              <a:gd name="connsiteY3" fmla="*/ 57795 h 275214"/>
              <a:gd name="connsiteX4" fmla="*/ 220172 w 275214"/>
              <a:gd name="connsiteY4" fmla="*/ 277967 h 275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5214" h="275214">
                <a:moveTo>
                  <a:pt x="220172" y="277967"/>
                </a:moveTo>
                <a:cubicBezTo>
                  <a:pt x="145864" y="148616"/>
                  <a:pt x="129351" y="145864"/>
                  <a:pt x="0" y="220172"/>
                </a:cubicBezTo>
                <a:cubicBezTo>
                  <a:pt x="129351" y="145864"/>
                  <a:pt x="132103" y="129351"/>
                  <a:pt x="57795" y="0"/>
                </a:cubicBezTo>
                <a:cubicBezTo>
                  <a:pt x="132103" y="129351"/>
                  <a:pt x="148616" y="132103"/>
                  <a:pt x="277967" y="57795"/>
                </a:cubicBezTo>
                <a:cubicBezTo>
                  <a:pt x="151368" y="134855"/>
                  <a:pt x="145864" y="151368"/>
                  <a:pt x="220172" y="277967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5" name="i$ļiḍê"/>
          <p:cNvSpPr/>
          <p:nvPr userDrawn="1"/>
        </p:nvSpPr>
        <p:spPr>
          <a:xfrm>
            <a:off x="3660501" y="2416383"/>
            <a:ext cx="1954023" cy="577950"/>
          </a:xfrm>
          <a:custGeom>
            <a:avLst/>
            <a:gdLst>
              <a:gd name="connsiteX0" fmla="*/ 1975892 w 1954022"/>
              <a:gd name="connsiteY0" fmla="*/ 0 h 577950"/>
              <a:gd name="connsiteX1" fmla="*/ 104433 w 1954022"/>
              <a:gd name="connsiteY1" fmla="*/ 599967 h 577950"/>
              <a:gd name="connsiteX2" fmla="*/ 2604 w 1954022"/>
              <a:gd name="connsiteY2" fmla="*/ 542172 h 577950"/>
              <a:gd name="connsiteX3" fmla="*/ 60399 w 1954022"/>
              <a:gd name="connsiteY3" fmla="*/ 440343 h 577950"/>
              <a:gd name="connsiteX4" fmla="*/ 1975892 w 1954022"/>
              <a:gd name="connsiteY4" fmla="*/ 0 h 577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4022" h="577950">
                <a:moveTo>
                  <a:pt x="1975892" y="0"/>
                </a:moveTo>
                <a:cubicBezTo>
                  <a:pt x="1975892" y="0"/>
                  <a:pt x="148467" y="586207"/>
                  <a:pt x="104433" y="599967"/>
                </a:cubicBezTo>
                <a:cubicBezTo>
                  <a:pt x="60399" y="610976"/>
                  <a:pt x="13613" y="586207"/>
                  <a:pt x="2604" y="542172"/>
                </a:cubicBezTo>
                <a:cubicBezTo>
                  <a:pt x="-8405" y="498138"/>
                  <a:pt x="16365" y="451352"/>
                  <a:pt x="60399" y="440343"/>
                </a:cubicBezTo>
                <a:cubicBezTo>
                  <a:pt x="107185" y="423830"/>
                  <a:pt x="1975892" y="0"/>
                  <a:pt x="1975892" y="0"/>
                </a:cubicBezTo>
                <a:close/>
              </a:path>
            </a:pathLst>
          </a:custGeom>
          <a:solidFill>
            <a:srgbClr val="FFFFFF">
              <a:alpha val="10000"/>
            </a:srgbClr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6" name="î$ḻiḓê"/>
          <p:cNvSpPr/>
          <p:nvPr userDrawn="1"/>
        </p:nvSpPr>
        <p:spPr>
          <a:xfrm>
            <a:off x="9912421" y="689656"/>
            <a:ext cx="82564" cy="82564"/>
          </a:xfrm>
          <a:custGeom>
            <a:avLst/>
            <a:gdLst>
              <a:gd name="connsiteX0" fmla="*/ 90536 w 82564"/>
              <a:gd name="connsiteY0" fmla="*/ 39817 h 82564"/>
              <a:gd name="connsiteX1" fmla="*/ 61622 w 82564"/>
              <a:gd name="connsiteY1" fmla="*/ 90536 h 82564"/>
              <a:gd name="connsiteX2" fmla="*/ 10903 w 82564"/>
              <a:gd name="connsiteY2" fmla="*/ 61622 h 82564"/>
              <a:gd name="connsiteX3" fmla="*/ 39817 w 82564"/>
              <a:gd name="connsiteY3" fmla="*/ 10903 h 82564"/>
              <a:gd name="connsiteX4" fmla="*/ 90536 w 82564"/>
              <a:gd name="connsiteY4" fmla="*/ 39817 h 82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64" h="82564">
                <a:moveTo>
                  <a:pt x="90536" y="39817"/>
                </a:moveTo>
                <a:cubicBezTo>
                  <a:pt x="96557" y="61807"/>
                  <a:pt x="83612" y="84515"/>
                  <a:pt x="61622" y="90536"/>
                </a:cubicBezTo>
                <a:cubicBezTo>
                  <a:pt x="39632" y="96557"/>
                  <a:pt x="16924" y="83612"/>
                  <a:pt x="10903" y="61622"/>
                </a:cubicBezTo>
                <a:cubicBezTo>
                  <a:pt x="4881" y="39632"/>
                  <a:pt x="17826" y="16924"/>
                  <a:pt x="39817" y="10903"/>
                </a:cubicBezTo>
                <a:cubicBezTo>
                  <a:pt x="61807" y="4881"/>
                  <a:pt x="84515" y="17827"/>
                  <a:pt x="90536" y="39817"/>
                </a:cubicBezTo>
                <a:close/>
              </a:path>
            </a:pathLst>
          </a:custGeom>
          <a:solidFill>
            <a:srgbClr val="FFFFFF"/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47" name="ïṥlîḑe"/>
          <p:cNvSpPr/>
          <p:nvPr userDrawn="1"/>
        </p:nvSpPr>
        <p:spPr>
          <a:xfrm>
            <a:off x="9880348" y="220172"/>
            <a:ext cx="1954023" cy="577950"/>
          </a:xfrm>
          <a:custGeom>
            <a:avLst/>
            <a:gdLst>
              <a:gd name="connsiteX0" fmla="*/ 1975891 w 1954022"/>
              <a:gd name="connsiteY0" fmla="*/ 0 h 577950"/>
              <a:gd name="connsiteX1" fmla="*/ 104433 w 1954022"/>
              <a:gd name="connsiteY1" fmla="*/ 599968 h 577950"/>
              <a:gd name="connsiteX2" fmla="*/ 2604 w 1954022"/>
              <a:gd name="connsiteY2" fmla="*/ 542173 h 577950"/>
              <a:gd name="connsiteX3" fmla="*/ 60399 w 1954022"/>
              <a:gd name="connsiteY3" fmla="*/ 440343 h 577950"/>
              <a:gd name="connsiteX4" fmla="*/ 1975891 w 1954022"/>
              <a:gd name="connsiteY4" fmla="*/ 0 h 577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4022" h="577950">
                <a:moveTo>
                  <a:pt x="1975891" y="0"/>
                </a:moveTo>
                <a:cubicBezTo>
                  <a:pt x="1975891" y="0"/>
                  <a:pt x="148467" y="586207"/>
                  <a:pt x="104433" y="599968"/>
                </a:cubicBezTo>
                <a:cubicBezTo>
                  <a:pt x="60399" y="610976"/>
                  <a:pt x="13612" y="586207"/>
                  <a:pt x="2604" y="542173"/>
                </a:cubicBezTo>
                <a:cubicBezTo>
                  <a:pt x="-8404" y="498138"/>
                  <a:pt x="16365" y="451352"/>
                  <a:pt x="60399" y="440343"/>
                </a:cubicBezTo>
                <a:cubicBezTo>
                  <a:pt x="107185" y="426582"/>
                  <a:pt x="1975891" y="0"/>
                  <a:pt x="1975891" y="0"/>
                </a:cubicBezTo>
                <a:close/>
              </a:path>
            </a:pathLst>
          </a:custGeom>
          <a:solidFill>
            <a:srgbClr val="FFFFFF">
              <a:alpha val="10000"/>
            </a:srgbClr>
          </a:solidFill>
          <a:ln w="27521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3385133" y="1611827"/>
            <a:ext cx="10845798" cy="1621509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385133" y="3918063"/>
            <a:ext cx="10845798" cy="3108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3385135" y="3621792"/>
            <a:ext cx="10845798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.vml"/><Relationship Id="rId6" Type="http://schemas.openxmlformats.org/officeDocument/2006/relationships/slideLayout" Target="../slideLayouts/slideLayout1.xml"/><Relationship Id="rId5" Type="http://schemas.openxmlformats.org/officeDocument/2006/relationships/themeOverride" Target="../theme/themeOverride1.xml"/><Relationship Id="rId4" Type="http://schemas.openxmlformats.org/officeDocument/2006/relationships/tags" Target="../tags/tag2.xml"/><Relationship Id="rId3" Type="http://schemas.openxmlformats.org/officeDocument/2006/relationships/image" Target="../media/image2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9" Type="http://schemas.openxmlformats.org/officeDocument/2006/relationships/themeOverride" Target="../theme/themeOverride2.xml"/><Relationship Id="rId8" Type="http://schemas.openxmlformats.org/officeDocument/2006/relationships/tags" Target="../tags/tag10.xml"/><Relationship Id="rId7" Type="http://schemas.openxmlformats.org/officeDocument/2006/relationships/tags" Target="../tags/tag9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.vml"/><Relationship Id="rId6" Type="http://schemas.openxmlformats.org/officeDocument/2006/relationships/slideLayout" Target="../slideLayouts/slideLayout7.xml"/><Relationship Id="rId5" Type="http://schemas.openxmlformats.org/officeDocument/2006/relationships/themeOverride" Target="../theme/themeOverride4.xml"/><Relationship Id="rId4" Type="http://schemas.openxmlformats.org/officeDocument/2006/relationships/tags" Target="../tags/tag12.xml"/><Relationship Id="rId3" Type="http://schemas.openxmlformats.org/officeDocument/2006/relationships/image" Target="../media/image2.emf"/><Relationship Id="rId2" Type="http://schemas.openxmlformats.org/officeDocument/2006/relationships/oleObject" Target="../embeddings/oleObject2.bin"/><Relationship Id="rId1" Type="http://schemas.openxmlformats.org/officeDocument/2006/relationships/tags" Target="../tags/tag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ṣḷiď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îṩḷiḋê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ï$líḍé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Sļîḍe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îṣḷïde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lvl="0">
              <a:defRPr/>
            </a:pPr>
            <a:r>
              <a:rPr lang="zh-CN" altLang="en-US" b="1" spc="600" dirty="0">
                <a:solidFill>
                  <a:srgbClr val="538DFF"/>
                </a:solidFill>
              </a:rPr>
              <a:t>技术分享</a:t>
            </a:r>
            <a:r>
              <a:rPr lang="en-US" altLang="zh-CN" b="1" spc="600" dirty="0">
                <a:solidFill>
                  <a:srgbClr val="538DFF"/>
                </a:solidFill>
              </a:rPr>
              <a:t>--</a:t>
            </a:r>
            <a:r>
              <a:rPr lang="zh-CN" altLang="en-US" b="1" spc="600" dirty="0">
                <a:solidFill>
                  <a:srgbClr val="538DFF"/>
                </a:solidFill>
              </a:rPr>
              <a:t>孤岛拾荒</a:t>
            </a:r>
            <a:endParaRPr lang="zh-CN" altLang="en-US" b="1" spc="600" dirty="0">
              <a:solidFill>
                <a:srgbClr val="538DFF"/>
              </a:solidFill>
            </a:endParaRPr>
          </a:p>
        </p:txBody>
      </p:sp>
      <p:sp>
        <p:nvSpPr>
          <p:cNvPr id="4" name="îṣliḑê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pPr lvl="0">
              <a:defRPr/>
            </a:pPr>
            <a:r>
              <a:rPr lang="zh-CN" altLang="en-US" dirty="0">
                <a:solidFill>
                  <a:srgbClr val="538DFF"/>
                </a:solidFill>
                <a:latin typeface="Roboto" panose="02000000000000000000" pitchFamily="2" charset="0"/>
                <a:ea typeface="宋体" panose="02010600030101010101" pitchFamily="2" charset="-122"/>
                <a:cs typeface="Roboto" panose="02000000000000000000" pitchFamily="2" charset="0"/>
              </a:rPr>
              <a:t>探索</a:t>
            </a:r>
            <a:r>
              <a:rPr lang="en-US" altLang="zh-CN" dirty="0">
                <a:solidFill>
                  <a:srgbClr val="538DFF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gg.js</a:t>
            </a:r>
            <a:br>
              <a:rPr lang="en-US" altLang="zh-CN" dirty="0">
                <a:solidFill>
                  <a:srgbClr val="538DFF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US" altLang="zh-CN" dirty="0">
                <a:solidFill>
                  <a:srgbClr val="538DFF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	</a:t>
            </a:r>
            <a:r>
              <a:rPr lang="en-US" altLang="zh-CN" sz="2665" dirty="0">
                <a:solidFill>
                  <a:srgbClr val="538DFF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为企业级框架和应用而生</a:t>
            </a:r>
            <a:br>
              <a:rPr lang="en-US" altLang="zh-CN" sz="2665" dirty="0">
                <a:solidFill>
                  <a:srgbClr val="538DFF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endParaRPr lang="en-US" altLang="zh-CN" sz="2665" b="0" dirty="0">
              <a:solidFill>
                <a:srgbClr val="538DFF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81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</a:t>
            </a: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内置对象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9" name="文本框 88"/>
          <p:cNvSpPr txBox="1"/>
          <p:nvPr/>
        </p:nvSpPr>
        <p:spPr>
          <a:xfrm>
            <a:off x="749935" y="1228090"/>
            <a:ext cx="56261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Config  </a:t>
            </a:r>
            <a:r>
              <a:rPr lang="zh-CN" altLang="en-US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配置</a:t>
            </a:r>
            <a:r>
              <a:rPr lang="zh-CN" altLang="en-US"/>
              <a:t> </a:t>
            </a:r>
            <a:endParaRPr lang="zh-CN" altLang="en-US"/>
          </a:p>
        </p:txBody>
      </p:sp>
      <p:sp>
        <p:nvSpPr>
          <p:cNvPr id="90" name="文本框 89"/>
          <p:cNvSpPr txBox="1"/>
          <p:nvPr/>
        </p:nvSpPr>
        <p:spPr>
          <a:xfrm>
            <a:off x="749935" y="1953895"/>
            <a:ext cx="1129220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600"/>
              <a:t>应用开发遵循配置和代码分离的原则，将一些需要硬编码的业务配置都放到配置文件中，同时配置文件支持各个不同的运行环境使用不同的配置，使用起来也非常方便，所有框架、插件和应用级别的配置都可以通过 Config 对象获取</a:t>
            </a:r>
            <a:endParaRPr lang="zh-CN" altLang="en-US" sz="1600"/>
          </a:p>
        </p:txBody>
      </p:sp>
      <p:sp>
        <p:nvSpPr>
          <p:cNvPr id="92" name="文本框 91"/>
          <p:cNvSpPr txBox="1"/>
          <p:nvPr/>
        </p:nvSpPr>
        <p:spPr>
          <a:xfrm>
            <a:off x="838835" y="2924810"/>
            <a:ext cx="11113770" cy="258445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>
                <a:sym typeface="+mn-ea"/>
              </a:rPr>
              <a:t>// app/controller/</a:t>
            </a:r>
            <a:r>
              <a:rPr lang="en-US" altLang="zh-CN">
                <a:sym typeface="+mn-ea"/>
              </a:rPr>
              <a:t>home</a:t>
            </a:r>
            <a:r>
              <a:rPr lang="zh-CN" altLang="en-US">
                <a:sym typeface="+mn-ea"/>
              </a:rPr>
              <a:t>.js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class HomeController extends Controller {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async name() {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const {ctx, service, app} = this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ctx.helper.pre("name");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ctx.response.body = 'Hello, ' + app.config.author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ctx.helper.end("name");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}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}</a:t>
            </a:r>
            <a:endParaRPr lang="zh-CN" altLang="en-US">
              <a:sym typeface="+mn-ea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81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</a:t>
            </a: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内置对象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9" name="文本框 88"/>
          <p:cNvSpPr txBox="1"/>
          <p:nvPr/>
        </p:nvSpPr>
        <p:spPr>
          <a:xfrm>
            <a:off x="749935" y="1228090"/>
            <a:ext cx="56261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Logger  </a:t>
            </a:r>
            <a:r>
              <a:rPr lang="zh-CN" altLang="en-US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日志</a:t>
            </a:r>
            <a:r>
              <a:rPr lang="zh-CN" altLang="en-US"/>
              <a:t> </a:t>
            </a:r>
            <a:endParaRPr lang="zh-CN" altLang="en-US"/>
          </a:p>
        </p:txBody>
      </p:sp>
      <p:sp>
        <p:nvSpPr>
          <p:cNvPr id="90" name="文本框 89"/>
          <p:cNvSpPr txBox="1"/>
          <p:nvPr/>
        </p:nvSpPr>
        <p:spPr>
          <a:xfrm>
            <a:off x="749935" y="1953895"/>
            <a:ext cx="1129220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600"/>
              <a:t>框架内置了功能强大的日志功能，可以非常方便的打印各种级别的日志到对应的日志文件中，每一个 logger 对象都提供了 4 个级别的方法：</a:t>
            </a:r>
            <a:endParaRPr lang="zh-CN" altLang="en-US" sz="1600"/>
          </a:p>
        </p:txBody>
      </p:sp>
      <p:sp>
        <p:nvSpPr>
          <p:cNvPr id="92" name="文本框 91"/>
          <p:cNvSpPr txBox="1"/>
          <p:nvPr/>
        </p:nvSpPr>
        <p:spPr>
          <a:xfrm>
            <a:off x="839470" y="3220085"/>
            <a:ext cx="11113770" cy="203009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>
                <a:sym typeface="+mn-ea"/>
              </a:rPr>
              <a:t>	1</a:t>
            </a:r>
            <a:r>
              <a:rPr lang="zh-CN" altLang="en-US">
                <a:sym typeface="+mn-ea"/>
              </a:rPr>
              <a:t>：logger.debug()</a:t>
            </a:r>
            <a:endParaRPr lang="zh-CN" altLang="en-US">
              <a:sym typeface="+mn-ea"/>
            </a:endParaRPr>
          </a:p>
          <a:p>
            <a:endParaRPr lang="zh-CN" altLang="en-US">
              <a:sym typeface="+mn-ea"/>
            </a:endParaRPr>
          </a:p>
          <a:p>
            <a:r>
              <a:rPr lang="en-US" altLang="zh-CN">
                <a:sym typeface="+mn-ea"/>
              </a:rPr>
              <a:t>	2</a:t>
            </a:r>
            <a:r>
              <a:rPr lang="zh-CN" altLang="en-US">
                <a:sym typeface="+mn-ea"/>
              </a:rPr>
              <a:t>：logger.info()</a:t>
            </a:r>
            <a:endParaRPr lang="zh-CN" altLang="en-US">
              <a:sym typeface="+mn-ea"/>
            </a:endParaRPr>
          </a:p>
          <a:p>
            <a:endParaRPr lang="zh-CN" altLang="en-US">
              <a:sym typeface="+mn-ea"/>
            </a:endParaRPr>
          </a:p>
          <a:p>
            <a:r>
              <a:rPr lang="en-US" altLang="zh-CN">
                <a:sym typeface="+mn-ea"/>
              </a:rPr>
              <a:t>	3</a:t>
            </a:r>
            <a:r>
              <a:rPr lang="zh-CN" altLang="en-US">
                <a:sym typeface="+mn-ea"/>
              </a:rPr>
              <a:t>：</a:t>
            </a:r>
            <a:r>
              <a:rPr lang="zh-CN" altLang="en-US">
                <a:sym typeface="+mn-ea"/>
              </a:rPr>
              <a:t>logger.warn()</a:t>
            </a:r>
            <a:endParaRPr lang="zh-CN" altLang="en-US">
              <a:sym typeface="+mn-ea"/>
            </a:endParaRPr>
          </a:p>
          <a:p>
            <a:endParaRPr lang="zh-CN" altLang="en-US">
              <a:sym typeface="+mn-ea"/>
            </a:endParaRPr>
          </a:p>
          <a:p>
            <a:r>
              <a:rPr lang="en-US" altLang="zh-CN">
                <a:sym typeface="+mn-ea"/>
              </a:rPr>
              <a:t>	4</a:t>
            </a:r>
            <a:r>
              <a:rPr lang="zh-CN" altLang="en-US">
                <a:sym typeface="+mn-ea"/>
              </a:rPr>
              <a:t>：</a:t>
            </a:r>
            <a:r>
              <a:rPr lang="zh-CN" altLang="en-US">
                <a:sym typeface="+mn-ea"/>
              </a:rPr>
              <a:t>logger.error()</a:t>
            </a:r>
            <a:endParaRPr lang="zh-CN" altLang="en-US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ľ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šliḑê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Egg.js应用服务</a:t>
            </a:r>
            <a:endParaRPr lang="zh-CN" altLang="en-US" dirty="0"/>
          </a:p>
        </p:txBody>
      </p:sp>
      <p:sp>
        <p:nvSpPr>
          <p:cNvPr id="6" name="îṥḷiḋê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>
                <a:sym typeface="+mn-ea"/>
              </a:rPr>
              <a:t>基于 Koa 开发，性能优异</a:t>
            </a:r>
            <a:endParaRPr lang="zh-CN" altLang="en-US" dirty="0"/>
          </a:p>
        </p:txBody>
      </p:sp>
      <p:sp>
        <p:nvSpPr>
          <p:cNvPr id="9" name="íślíde"/>
          <p:cNvSpPr txBox="1"/>
          <p:nvPr/>
        </p:nvSpPr>
        <p:spPr>
          <a:xfrm>
            <a:off x="876697" y="2279537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2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81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</a:t>
            </a: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内置对象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9" name="文本框 88"/>
          <p:cNvSpPr txBox="1"/>
          <p:nvPr/>
        </p:nvSpPr>
        <p:spPr>
          <a:xfrm>
            <a:off x="749935" y="1228090"/>
            <a:ext cx="56261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GET,POST </a:t>
            </a:r>
            <a:r>
              <a:rPr lang="zh-CN" altLang="en-US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请求</a:t>
            </a:r>
            <a:r>
              <a:rPr lang="zh-CN" altLang="en-US"/>
              <a:t> </a:t>
            </a:r>
            <a:endParaRPr lang="zh-CN" altLang="en-US"/>
          </a:p>
        </p:txBody>
      </p:sp>
      <p:sp>
        <p:nvSpPr>
          <p:cNvPr id="90" name="文本框 89"/>
          <p:cNvSpPr txBox="1"/>
          <p:nvPr/>
        </p:nvSpPr>
        <p:spPr>
          <a:xfrm>
            <a:off x="749935" y="1953895"/>
            <a:ext cx="1129220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600"/>
              <a:t>请求路由配置：</a:t>
            </a:r>
            <a:endParaRPr lang="zh-CN" altLang="en-US" sz="1600"/>
          </a:p>
        </p:txBody>
      </p:sp>
      <p:sp>
        <p:nvSpPr>
          <p:cNvPr id="92" name="文本框 91"/>
          <p:cNvSpPr txBox="1"/>
          <p:nvPr/>
        </p:nvSpPr>
        <p:spPr>
          <a:xfrm>
            <a:off x="838835" y="2810510"/>
            <a:ext cx="11113770" cy="203009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>
                <a:sym typeface="+mn-ea"/>
              </a:rPr>
              <a:t>// app/</a:t>
            </a:r>
            <a:r>
              <a:rPr lang="en-US" altLang="zh-CN">
                <a:sym typeface="+mn-ea"/>
              </a:rPr>
              <a:t>router</a:t>
            </a:r>
            <a:r>
              <a:rPr lang="zh-CN" altLang="en-US">
                <a:sym typeface="+mn-ea"/>
              </a:rPr>
              <a:t>.js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module.exports = app =&gt; {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const { router, controller } = app;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router.get('/', controller.home.index);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router.get('/name', controller.home.name);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router.post('/addUser', controller.user.addUser);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};</a:t>
            </a:r>
            <a:endParaRPr lang="zh-CN" altLang="en-US">
              <a:sym typeface="+mn-ea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81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</a:t>
            </a: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内置对象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9" name="文本框 88"/>
          <p:cNvSpPr txBox="1"/>
          <p:nvPr/>
        </p:nvSpPr>
        <p:spPr>
          <a:xfrm>
            <a:off x="749935" y="1228090"/>
            <a:ext cx="56261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POST </a:t>
            </a:r>
            <a:r>
              <a:rPr lang="zh-CN" altLang="en-US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请求</a:t>
            </a:r>
            <a:r>
              <a:rPr lang="zh-CN" altLang="en-US"/>
              <a:t> </a:t>
            </a:r>
            <a:endParaRPr lang="zh-CN" altLang="en-US"/>
          </a:p>
        </p:txBody>
      </p:sp>
      <p:sp>
        <p:nvSpPr>
          <p:cNvPr id="90" name="文本框 89"/>
          <p:cNvSpPr txBox="1"/>
          <p:nvPr/>
        </p:nvSpPr>
        <p:spPr>
          <a:xfrm>
            <a:off x="749935" y="1953895"/>
            <a:ext cx="1129220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600">
                <a:sym typeface="+mn-ea"/>
              </a:rPr>
              <a:t>UserController</a:t>
            </a:r>
            <a:r>
              <a:rPr lang="zh-CN" altLang="en-US" sz="1600"/>
              <a:t>代码如下</a:t>
            </a:r>
            <a:r>
              <a:rPr lang="zh-CN" altLang="en-US" sz="1600"/>
              <a:t>：</a:t>
            </a:r>
            <a:endParaRPr lang="zh-CN" altLang="en-US" sz="1600"/>
          </a:p>
        </p:txBody>
      </p:sp>
      <p:sp>
        <p:nvSpPr>
          <p:cNvPr id="92" name="文本框 91"/>
          <p:cNvSpPr txBox="1"/>
          <p:nvPr/>
        </p:nvSpPr>
        <p:spPr>
          <a:xfrm>
            <a:off x="838835" y="2467610"/>
            <a:ext cx="11113770" cy="258445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>
                <a:sym typeface="+mn-ea"/>
              </a:rPr>
              <a:t>// app/</a:t>
            </a:r>
            <a:r>
              <a:rPr lang="en-US" altLang="zh-CN">
                <a:sym typeface="+mn-ea"/>
              </a:rPr>
              <a:t>controller</a:t>
            </a:r>
            <a:r>
              <a:rPr lang="en-US" altLang="zh-CN">
                <a:sym typeface="+mn-ea"/>
              </a:rPr>
              <a:t>/user</a:t>
            </a:r>
            <a:r>
              <a:rPr lang="zh-CN" altLang="en-US">
                <a:sym typeface="+mn-ea"/>
              </a:rPr>
              <a:t>.js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async addUser() {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const {ctx, service, app} = this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ctx.helper.pre("addUser")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let params = ctx.request.body || {}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let result = await service.user.addUser(params)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ctx.body = result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ctx.helper.end("addUser")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}</a:t>
            </a:r>
            <a:endParaRPr lang="zh-CN" altLang="en-US">
              <a:sym typeface="+mn-ea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81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</a:t>
            </a: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内置对象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9" name="文本框 88"/>
          <p:cNvSpPr txBox="1"/>
          <p:nvPr/>
        </p:nvSpPr>
        <p:spPr>
          <a:xfrm>
            <a:off x="749935" y="1228090"/>
            <a:ext cx="56261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POST </a:t>
            </a:r>
            <a:r>
              <a:rPr lang="zh-CN" altLang="en-US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请求</a:t>
            </a:r>
            <a:r>
              <a:rPr lang="zh-CN" altLang="en-US"/>
              <a:t> </a:t>
            </a:r>
            <a:endParaRPr lang="zh-CN" altLang="en-US"/>
          </a:p>
        </p:txBody>
      </p:sp>
      <p:sp>
        <p:nvSpPr>
          <p:cNvPr id="90" name="文本框 89"/>
          <p:cNvSpPr txBox="1"/>
          <p:nvPr/>
        </p:nvSpPr>
        <p:spPr>
          <a:xfrm>
            <a:off x="749935" y="1953895"/>
            <a:ext cx="1129220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600"/>
              <a:t>UserService</a:t>
            </a:r>
            <a:r>
              <a:rPr lang="zh-CN" altLang="en-US" sz="1600"/>
              <a:t>代码如下</a:t>
            </a:r>
            <a:r>
              <a:rPr lang="zh-CN" altLang="en-US" sz="1600"/>
              <a:t>：</a:t>
            </a:r>
            <a:endParaRPr lang="zh-CN" altLang="en-US" sz="1600"/>
          </a:p>
        </p:txBody>
      </p:sp>
      <p:sp>
        <p:nvSpPr>
          <p:cNvPr id="92" name="文本框 91"/>
          <p:cNvSpPr txBox="1"/>
          <p:nvPr/>
        </p:nvSpPr>
        <p:spPr>
          <a:xfrm>
            <a:off x="838835" y="2467610"/>
            <a:ext cx="11113770" cy="17532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>
                <a:sym typeface="+mn-ea"/>
              </a:rPr>
              <a:t>// app/</a:t>
            </a:r>
            <a:r>
              <a:rPr lang="en-US" altLang="zh-CN">
                <a:sym typeface="+mn-ea"/>
              </a:rPr>
              <a:t>service</a:t>
            </a:r>
            <a:r>
              <a:rPr lang="en-US" altLang="zh-CN">
                <a:sym typeface="+mn-ea"/>
              </a:rPr>
              <a:t>/user</a:t>
            </a:r>
            <a:r>
              <a:rPr lang="zh-CN" altLang="en-US">
                <a:sym typeface="+mn-ea"/>
              </a:rPr>
              <a:t>.js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async addUser(params) {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const {ctx, service, app} = this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let result = await ctx.model.User.create(params)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return result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}</a:t>
            </a:r>
            <a:endParaRPr lang="zh-CN" altLang="en-US">
              <a:sym typeface="+mn-ea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81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</a:t>
            </a: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内置对象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9" name="文本框 88"/>
          <p:cNvSpPr txBox="1"/>
          <p:nvPr/>
        </p:nvSpPr>
        <p:spPr>
          <a:xfrm>
            <a:off x="749935" y="1228090"/>
            <a:ext cx="56261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POST </a:t>
            </a:r>
            <a:r>
              <a:rPr lang="zh-CN" altLang="en-US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请求</a:t>
            </a:r>
            <a:r>
              <a:rPr lang="zh-CN" altLang="en-US"/>
              <a:t> </a:t>
            </a:r>
            <a:endParaRPr lang="zh-CN" altLang="en-US"/>
          </a:p>
        </p:txBody>
      </p:sp>
      <p:sp>
        <p:nvSpPr>
          <p:cNvPr id="90" name="文本框 89"/>
          <p:cNvSpPr txBox="1"/>
          <p:nvPr/>
        </p:nvSpPr>
        <p:spPr>
          <a:xfrm>
            <a:off x="749935" y="1953895"/>
            <a:ext cx="1129220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600"/>
              <a:t>用户模型代码如下</a:t>
            </a:r>
            <a:r>
              <a:rPr lang="zh-CN" altLang="en-US" sz="1600"/>
              <a:t>：</a:t>
            </a:r>
            <a:endParaRPr lang="zh-CN" altLang="en-US" sz="1600"/>
          </a:p>
        </p:txBody>
      </p:sp>
      <p:sp>
        <p:nvSpPr>
          <p:cNvPr id="92" name="文本框 91"/>
          <p:cNvSpPr txBox="1"/>
          <p:nvPr/>
        </p:nvSpPr>
        <p:spPr>
          <a:xfrm>
            <a:off x="838835" y="2467610"/>
            <a:ext cx="11113770" cy="31381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>
                <a:sym typeface="+mn-ea"/>
              </a:rPr>
              <a:t>// app/</a:t>
            </a:r>
            <a:r>
              <a:rPr lang="en-US" altLang="zh-CN">
                <a:sym typeface="+mn-ea"/>
              </a:rPr>
              <a:t>model</a:t>
            </a:r>
            <a:r>
              <a:rPr lang="en-US" altLang="zh-CN">
                <a:sym typeface="+mn-ea"/>
              </a:rPr>
              <a:t>/user</a:t>
            </a:r>
            <a:r>
              <a:rPr lang="zh-CN" altLang="en-US">
                <a:sym typeface="+mn-ea"/>
              </a:rPr>
              <a:t>.js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module.exports = app =&gt; {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const mongoose = app.mongoose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const UserSchema = new mongoose.Schema({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age: { type: Number },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name: { type: String },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info: { type: String },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create_time: { type: Date, default: Date.now }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})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return mongoose.model('User', UserSchema, 'user')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}</a:t>
            </a:r>
            <a:endParaRPr lang="zh-CN" altLang="en-US">
              <a:sym typeface="+mn-ea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81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</a:t>
            </a: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内置对象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9" name="文本框 88"/>
          <p:cNvSpPr txBox="1"/>
          <p:nvPr/>
        </p:nvSpPr>
        <p:spPr>
          <a:xfrm>
            <a:off x="749935" y="1228090"/>
            <a:ext cx="56261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GET</a:t>
            </a:r>
            <a:r>
              <a:rPr lang="zh-CN" altLang="en-US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请求</a:t>
            </a:r>
            <a:r>
              <a:rPr lang="zh-CN" altLang="en-US"/>
              <a:t> </a:t>
            </a:r>
            <a:endParaRPr lang="zh-CN" altLang="en-US"/>
          </a:p>
        </p:txBody>
      </p:sp>
      <p:sp>
        <p:nvSpPr>
          <p:cNvPr id="90" name="文本框 89"/>
          <p:cNvSpPr txBox="1"/>
          <p:nvPr/>
        </p:nvSpPr>
        <p:spPr>
          <a:xfrm>
            <a:off x="749935" y="1953895"/>
            <a:ext cx="1129220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600">
                <a:sym typeface="+mn-ea"/>
              </a:rPr>
              <a:t>UserController</a:t>
            </a:r>
            <a:r>
              <a:rPr lang="zh-CN" altLang="en-US" sz="1600">
                <a:sym typeface="+mn-ea"/>
              </a:rPr>
              <a:t>代码如下：</a:t>
            </a:r>
            <a:endParaRPr lang="zh-CN" altLang="en-US" sz="1600"/>
          </a:p>
        </p:txBody>
      </p:sp>
      <p:sp>
        <p:nvSpPr>
          <p:cNvPr id="92" name="文本框 91"/>
          <p:cNvSpPr txBox="1"/>
          <p:nvPr/>
        </p:nvSpPr>
        <p:spPr>
          <a:xfrm>
            <a:off x="838835" y="2467610"/>
            <a:ext cx="11113770" cy="258445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>
                <a:sym typeface="+mn-ea"/>
              </a:rPr>
              <a:t>// app/</a:t>
            </a:r>
            <a:r>
              <a:rPr lang="en-US" altLang="zh-CN">
                <a:sym typeface="+mn-ea"/>
              </a:rPr>
              <a:t>controller</a:t>
            </a:r>
            <a:r>
              <a:rPr lang="en-US" altLang="zh-CN">
                <a:sym typeface="+mn-ea"/>
              </a:rPr>
              <a:t>/user</a:t>
            </a:r>
            <a:r>
              <a:rPr lang="zh-CN" altLang="en-US">
                <a:sym typeface="+mn-ea"/>
              </a:rPr>
              <a:t>.js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async getUser() {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const { ctx, service, app } = this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ctx.helper.pre("getUser")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let params = ctx.query || {}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let result = await service.user.getUser(params)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ctx.body = result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ctx.helper.end("getUser")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}</a:t>
            </a:r>
            <a:endParaRPr lang="zh-CN" altLang="en-US">
              <a:sym typeface="+mn-ea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81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</a:t>
            </a: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内置对象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9" name="文本框 88"/>
          <p:cNvSpPr txBox="1"/>
          <p:nvPr/>
        </p:nvSpPr>
        <p:spPr>
          <a:xfrm>
            <a:off x="749935" y="1228090"/>
            <a:ext cx="56261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GET</a:t>
            </a:r>
            <a:r>
              <a:rPr lang="zh-CN" altLang="en-US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请求</a:t>
            </a:r>
            <a:r>
              <a:rPr lang="zh-CN" altLang="en-US"/>
              <a:t> </a:t>
            </a:r>
            <a:endParaRPr lang="zh-CN" altLang="en-US"/>
          </a:p>
        </p:txBody>
      </p:sp>
      <p:sp>
        <p:nvSpPr>
          <p:cNvPr id="90" name="文本框 89"/>
          <p:cNvSpPr txBox="1"/>
          <p:nvPr/>
        </p:nvSpPr>
        <p:spPr>
          <a:xfrm>
            <a:off x="749935" y="1953895"/>
            <a:ext cx="1129220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600">
                <a:sym typeface="+mn-ea"/>
              </a:rPr>
              <a:t>UserService</a:t>
            </a:r>
            <a:r>
              <a:rPr lang="zh-CN" altLang="en-US" sz="1600">
                <a:sym typeface="+mn-ea"/>
              </a:rPr>
              <a:t>代码如下：</a:t>
            </a:r>
            <a:endParaRPr lang="zh-CN" altLang="en-US" sz="1600"/>
          </a:p>
        </p:txBody>
      </p:sp>
      <p:sp>
        <p:nvSpPr>
          <p:cNvPr id="92" name="文本框 91"/>
          <p:cNvSpPr txBox="1"/>
          <p:nvPr/>
        </p:nvSpPr>
        <p:spPr>
          <a:xfrm>
            <a:off x="838835" y="2467610"/>
            <a:ext cx="11113770" cy="17532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>
                <a:sym typeface="+mn-ea"/>
              </a:rPr>
              <a:t>// app/</a:t>
            </a:r>
            <a:r>
              <a:rPr lang="en-US" altLang="zh-CN">
                <a:sym typeface="+mn-ea"/>
              </a:rPr>
              <a:t>service</a:t>
            </a:r>
            <a:r>
              <a:rPr lang="en-US" altLang="zh-CN">
                <a:sym typeface="+mn-ea"/>
              </a:rPr>
              <a:t>/user</a:t>
            </a:r>
            <a:r>
              <a:rPr lang="zh-CN" altLang="en-US">
                <a:sym typeface="+mn-ea"/>
              </a:rPr>
              <a:t>.js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async getUser(params) {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const { ctx, service, app } = this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let result = await ctx.model.User.find(params)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return result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}</a:t>
            </a:r>
            <a:endParaRPr lang="zh-CN" altLang="en-US">
              <a:sym typeface="+mn-ea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ľ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šliḑê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Egg.js</a:t>
            </a:r>
            <a:r>
              <a:rPr lang="zh-CN" altLang="en-US" dirty="0"/>
              <a:t>应用日志</a:t>
            </a:r>
            <a:endParaRPr lang="zh-CN" altLang="en-US" dirty="0"/>
          </a:p>
        </p:txBody>
      </p:sp>
      <p:sp>
        <p:nvSpPr>
          <p:cNvPr id="6" name="îṥḷiḋê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框架内置了强大的企业级日志支持，由 egg-logger 模块提供.</a:t>
            </a:r>
            <a:endParaRPr lang="zh-CN" altLang="en-US" dirty="0"/>
          </a:p>
        </p:txBody>
      </p:sp>
      <p:sp>
        <p:nvSpPr>
          <p:cNvPr id="9" name="íślíde"/>
          <p:cNvSpPr txBox="1"/>
          <p:nvPr/>
        </p:nvSpPr>
        <p:spPr>
          <a:xfrm>
            <a:off x="876697" y="2279537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3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ṥļï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reeform 5"/>
          <p:cNvSpPr/>
          <p:nvPr/>
        </p:nvSpPr>
        <p:spPr bwMode="auto">
          <a:xfrm flipH="1">
            <a:off x="6361297" y="4518115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prstClr val="black"/>
              </a:solidFill>
              <a:latin typeface="等线" panose="020F0502020204030204"/>
            </a:endParaRPr>
          </a:p>
        </p:txBody>
      </p:sp>
      <p:sp>
        <p:nvSpPr>
          <p:cNvPr id="46" name="Freeform 5"/>
          <p:cNvSpPr/>
          <p:nvPr/>
        </p:nvSpPr>
        <p:spPr bwMode="auto">
          <a:xfrm>
            <a:off x="1369485" y="1493812"/>
            <a:ext cx="4052452" cy="2291439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prstClr val="black"/>
              </a:solidFill>
              <a:latin typeface="等线" panose="020F0502020204030204"/>
            </a:endParaRPr>
          </a:p>
        </p:txBody>
      </p:sp>
      <p:grpSp>
        <p:nvGrpSpPr>
          <p:cNvPr id="65" name="组合 64"/>
          <p:cNvGrpSpPr/>
          <p:nvPr/>
        </p:nvGrpSpPr>
        <p:grpSpPr>
          <a:xfrm>
            <a:off x="2411146" y="2271649"/>
            <a:ext cx="1894826" cy="1157661"/>
            <a:chOff x="1903156" y="2634499"/>
            <a:chExt cx="1894826" cy="1157661"/>
          </a:xfrm>
        </p:grpSpPr>
        <p:sp>
          <p:nvSpPr>
            <p:cNvPr id="66" name="文本框 73"/>
            <p:cNvSpPr txBox="1"/>
            <p:nvPr/>
          </p:nvSpPr>
          <p:spPr>
            <a:xfrm>
              <a:off x="1920545" y="2634499"/>
              <a:ext cx="1877437" cy="7694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4400" dirty="0">
                  <a:solidFill>
                    <a:srgbClr val="1F497D"/>
                  </a:solidFill>
                  <a:latin typeface="汉仪综艺体简" panose="02010609000101010101" pitchFamily="49" charset="-122"/>
                  <a:ea typeface="汉仪综艺体简" panose="02010609000101010101" pitchFamily="49" charset="-122"/>
                </a:rPr>
                <a:t>目　录</a:t>
              </a:r>
              <a:endParaRPr lang="zh-CN" altLang="en-US" sz="4400" dirty="0">
                <a:solidFill>
                  <a:srgbClr val="1F497D"/>
                </a:solidFill>
                <a:latin typeface="汉仪综艺体简" panose="02010609000101010101" pitchFamily="49" charset="-122"/>
                <a:ea typeface="汉仪综艺体简" panose="02010609000101010101" pitchFamily="49" charset="-122"/>
              </a:endParaRPr>
            </a:p>
          </p:txBody>
        </p:sp>
        <p:sp>
          <p:nvSpPr>
            <p:cNvPr id="67" name="文本框 74"/>
            <p:cNvSpPr txBox="1"/>
            <p:nvPr/>
          </p:nvSpPr>
          <p:spPr>
            <a:xfrm>
              <a:off x="1903156" y="3330495"/>
              <a:ext cx="1874231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400" dirty="0">
                  <a:solidFill>
                    <a:srgbClr val="4F81BD"/>
                  </a:solidFill>
                  <a:latin typeface="Fedra Sans Std Medium" panose="020B0604040000020004" pitchFamily="34" charset="0"/>
                </a:rPr>
                <a:t>CONTENTS</a:t>
              </a:r>
              <a:endParaRPr lang="zh-CN" altLang="en-US" sz="2400" dirty="0">
                <a:solidFill>
                  <a:srgbClr val="4F81BD"/>
                </a:solidFill>
                <a:latin typeface="Fedra Sans Std Medium" panose="020B0604040000020004" pitchFamily="34" charset="0"/>
              </a:endParaRPr>
            </a:p>
          </p:txBody>
        </p:sp>
      </p:grpSp>
      <p:sp>
        <p:nvSpPr>
          <p:cNvPr id="68" name="Freeform 5"/>
          <p:cNvSpPr/>
          <p:nvPr/>
        </p:nvSpPr>
        <p:spPr bwMode="auto">
          <a:xfrm flipH="1">
            <a:off x="6361297" y="11073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prstClr val="black"/>
              </a:solidFill>
              <a:latin typeface="等线" panose="020F0502020204030204"/>
            </a:endParaRPr>
          </a:p>
        </p:txBody>
      </p:sp>
      <p:sp>
        <p:nvSpPr>
          <p:cNvPr id="69" name="Freeform 5"/>
          <p:cNvSpPr/>
          <p:nvPr/>
        </p:nvSpPr>
        <p:spPr bwMode="auto">
          <a:xfrm flipH="1">
            <a:off x="6361297" y="2244292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prstClr val="black"/>
              </a:solidFill>
              <a:latin typeface="等线" panose="020F0502020204030204"/>
            </a:endParaRPr>
          </a:p>
        </p:txBody>
      </p:sp>
      <p:sp>
        <p:nvSpPr>
          <p:cNvPr id="70" name="Freeform 5"/>
          <p:cNvSpPr/>
          <p:nvPr/>
        </p:nvSpPr>
        <p:spPr bwMode="auto">
          <a:xfrm flipH="1">
            <a:off x="6361297" y="3381204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prstClr val="black"/>
              </a:solidFill>
              <a:latin typeface="等线" panose="020F0502020204030204"/>
            </a:endParaRPr>
          </a:p>
        </p:txBody>
      </p:sp>
      <p:sp>
        <p:nvSpPr>
          <p:cNvPr id="71" name="MH_Number_1"/>
          <p:cNvSpPr/>
          <p:nvPr>
            <p:custDataLst>
              <p:tags r:id="rId1"/>
            </p:custDataLst>
          </p:nvPr>
        </p:nvSpPr>
        <p:spPr>
          <a:xfrm>
            <a:off x="6789097" y="1287016"/>
            <a:ext cx="379667" cy="379667"/>
          </a:xfrm>
          <a:prstGeom prst="ellipse">
            <a:avLst/>
          </a:prstGeom>
          <a:noFill/>
          <a:ln w="28575" cap="flat" cmpd="sng" algn="ctr">
            <a:solidFill>
              <a:srgbClr val="C0504D"/>
            </a:solidFill>
            <a:prstDash val="solid"/>
            <a:miter lim="800000"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110" b="1" i="0" u="none" strike="noStrike" kern="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等线" panose="020F0502020204030204"/>
                <a:cs typeface="Times New Roman" panose="02020603050405020304" pitchFamily="18" charset="0"/>
                <a:sym typeface="Arial" panose="020B0604020202020204" pitchFamily="34" charset="0"/>
              </a:rPr>
              <a:t>1</a:t>
            </a:r>
            <a:endParaRPr kumimoji="0" lang="zh-CN" altLang="en-US" sz="2110" b="1" i="0" u="none" strike="noStrike" kern="0" cap="none" spc="0" normalizeH="0" baseline="0" noProof="0" dirty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等线" panose="020F0502020204030204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72" name="MH_Entry_1"/>
          <p:cNvSpPr/>
          <p:nvPr>
            <p:custDataLst>
              <p:tags r:id="rId2"/>
            </p:custDataLst>
          </p:nvPr>
        </p:nvSpPr>
        <p:spPr>
          <a:xfrm>
            <a:off x="7811896" y="1278546"/>
            <a:ext cx="2602582" cy="430530"/>
          </a:xfrm>
          <a:custGeom>
            <a:avLst/>
            <a:gdLst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2520280 w 2520280"/>
              <a:gd name="connsiteY7" fmla="*/ 288032 h 1872208"/>
              <a:gd name="connsiteX8" fmla="*/ 0 w 2520280"/>
              <a:gd name="connsiteY8" fmla="*/ 0 h 1872208"/>
              <a:gd name="connsiteX0-1" fmla="*/ 0 w 2520280"/>
              <a:gd name="connsiteY0-2" fmla="*/ 1584176 h 1872208"/>
              <a:gd name="connsiteX1-3" fmla="*/ 2520280 w 2520280"/>
              <a:gd name="connsiteY1-4" fmla="*/ 1584176 h 1872208"/>
              <a:gd name="connsiteX2-5" fmla="*/ 2520280 w 2520280"/>
              <a:gd name="connsiteY2-6" fmla="*/ 1872208 h 1872208"/>
              <a:gd name="connsiteX3-7" fmla="*/ 0 w 2520280"/>
              <a:gd name="connsiteY3-8" fmla="*/ 1872208 h 1872208"/>
              <a:gd name="connsiteX4-9" fmla="*/ 0 w 2520280"/>
              <a:gd name="connsiteY4-10" fmla="*/ 1584176 h 1872208"/>
              <a:gd name="connsiteX5-11" fmla="*/ 0 w 2520280"/>
              <a:gd name="connsiteY5-12" fmla="*/ 0 h 1872208"/>
              <a:gd name="connsiteX6-13" fmla="*/ 2520280 w 2520280"/>
              <a:gd name="connsiteY6-14" fmla="*/ 0 h 1872208"/>
              <a:gd name="connsiteX7-15" fmla="*/ 0 w 2520280"/>
              <a:gd name="connsiteY7-16" fmla="*/ 0 h 1872208"/>
              <a:gd name="connsiteX0-17" fmla="*/ 0 w 2520280"/>
              <a:gd name="connsiteY0-18" fmla="*/ 1872208 h 1872208"/>
              <a:gd name="connsiteX1-19" fmla="*/ 2520280 w 2520280"/>
              <a:gd name="connsiteY1-20" fmla="*/ 1584176 h 1872208"/>
              <a:gd name="connsiteX2-21" fmla="*/ 2520280 w 2520280"/>
              <a:gd name="connsiteY2-22" fmla="*/ 1872208 h 1872208"/>
              <a:gd name="connsiteX3-23" fmla="*/ 0 w 2520280"/>
              <a:gd name="connsiteY3-24" fmla="*/ 1872208 h 1872208"/>
              <a:gd name="connsiteX4-25" fmla="*/ 0 w 2520280"/>
              <a:gd name="connsiteY4-26" fmla="*/ 0 h 1872208"/>
              <a:gd name="connsiteX5-27" fmla="*/ 2520280 w 2520280"/>
              <a:gd name="connsiteY5-28" fmla="*/ 0 h 1872208"/>
              <a:gd name="connsiteX6-29" fmla="*/ 0 w 2520280"/>
              <a:gd name="connsiteY6-30" fmla="*/ 0 h 1872208"/>
              <a:gd name="connsiteX0-31" fmla="*/ 0 w 2520280"/>
              <a:gd name="connsiteY0-32" fmla="*/ 1872208 h 1872208"/>
              <a:gd name="connsiteX1-33" fmla="*/ 2520280 w 2520280"/>
              <a:gd name="connsiteY1-34" fmla="*/ 1872208 h 1872208"/>
              <a:gd name="connsiteX2-35" fmla="*/ 0 w 2520280"/>
              <a:gd name="connsiteY2-36" fmla="*/ 1872208 h 1872208"/>
              <a:gd name="connsiteX3-37" fmla="*/ 0 w 2520280"/>
              <a:gd name="connsiteY3-38" fmla="*/ 0 h 1872208"/>
              <a:gd name="connsiteX4-39" fmla="*/ 2520280 w 2520280"/>
              <a:gd name="connsiteY4-40" fmla="*/ 0 h 1872208"/>
              <a:gd name="connsiteX5-41" fmla="*/ 0 w 2520280"/>
              <a:gd name="connsiteY5-42" fmla="*/ 0 h 1872208"/>
              <a:gd name="connsiteX0-43" fmla="*/ 0 w 2520280"/>
              <a:gd name="connsiteY0-44" fmla="*/ 1872208 h 1872208"/>
              <a:gd name="connsiteX1-45" fmla="*/ 2520280 w 2520280"/>
              <a:gd name="connsiteY1-46" fmla="*/ 1872208 h 1872208"/>
              <a:gd name="connsiteX2-47" fmla="*/ 0 w 2520280"/>
              <a:gd name="connsiteY2-48" fmla="*/ 1872208 h 1872208"/>
              <a:gd name="connsiteX3-49" fmla="*/ 0 w 2520280"/>
              <a:gd name="connsiteY3-50" fmla="*/ 0 h 1872208"/>
              <a:gd name="connsiteX4-51" fmla="*/ 34255 w 2520280"/>
              <a:gd name="connsiteY4-52" fmla="*/ 0 h 1872208"/>
              <a:gd name="connsiteX5-53" fmla="*/ 0 w 2520280"/>
              <a:gd name="connsiteY5-54" fmla="*/ 0 h 1872208"/>
              <a:gd name="connsiteX0-55" fmla="*/ 0 w 2520280"/>
              <a:gd name="connsiteY0-56" fmla="*/ 1872208 h 1872208"/>
              <a:gd name="connsiteX1-57" fmla="*/ 2520280 w 2520280"/>
              <a:gd name="connsiteY1-58" fmla="*/ 1872208 h 1872208"/>
              <a:gd name="connsiteX2-59" fmla="*/ 0 w 2520280"/>
              <a:gd name="connsiteY2-60" fmla="*/ 1872208 h 1872208"/>
              <a:gd name="connsiteX3-61" fmla="*/ 0 w 2520280"/>
              <a:gd name="connsiteY3-62" fmla="*/ 0 h 1872208"/>
              <a:gd name="connsiteX4-63" fmla="*/ 917 w 2520280"/>
              <a:gd name="connsiteY4-64" fmla="*/ 6036 h 1872208"/>
              <a:gd name="connsiteX5-65" fmla="*/ 0 w 2520280"/>
              <a:gd name="connsiteY5-66" fmla="*/ 0 h 1872208"/>
              <a:gd name="connsiteX0-67" fmla="*/ 0 w 2520280"/>
              <a:gd name="connsiteY0-68" fmla="*/ 1890314 h 1890314"/>
              <a:gd name="connsiteX1-69" fmla="*/ 2520280 w 2520280"/>
              <a:gd name="connsiteY1-70" fmla="*/ 1890314 h 1890314"/>
              <a:gd name="connsiteX2-71" fmla="*/ 0 w 2520280"/>
              <a:gd name="connsiteY2-72" fmla="*/ 1890314 h 1890314"/>
              <a:gd name="connsiteX3-73" fmla="*/ 0 w 2520280"/>
              <a:gd name="connsiteY3-74" fmla="*/ 18106 h 1890314"/>
              <a:gd name="connsiteX4-75" fmla="*/ 53304 w 2520280"/>
              <a:gd name="connsiteY4-76" fmla="*/ 0 h 1890314"/>
              <a:gd name="connsiteX5-77" fmla="*/ 0 w 2520280"/>
              <a:gd name="connsiteY5-78" fmla="*/ 18106 h 1890314"/>
              <a:gd name="connsiteX0-79" fmla="*/ 0 w 2520280"/>
              <a:gd name="connsiteY0-80" fmla="*/ 1872208 h 1872208"/>
              <a:gd name="connsiteX1-81" fmla="*/ 2520280 w 2520280"/>
              <a:gd name="connsiteY1-82" fmla="*/ 1872208 h 1872208"/>
              <a:gd name="connsiteX2-83" fmla="*/ 0 w 2520280"/>
              <a:gd name="connsiteY2-84" fmla="*/ 1872208 h 1872208"/>
              <a:gd name="connsiteX3-85" fmla="*/ 0 w 2520280"/>
              <a:gd name="connsiteY3-86" fmla="*/ 0 h 1872208"/>
              <a:gd name="connsiteX4-87" fmla="*/ 916 w 2520280"/>
              <a:gd name="connsiteY4-88" fmla="*/ 0 h 1872208"/>
              <a:gd name="connsiteX5-89" fmla="*/ 0 w 2520280"/>
              <a:gd name="connsiteY5-90" fmla="*/ 0 h 187220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2520280" h="1872208">
                <a:moveTo>
                  <a:pt x="0" y="1872208"/>
                </a:moveTo>
                <a:lnTo>
                  <a:pt x="2520280" y="1872208"/>
                </a:lnTo>
                <a:lnTo>
                  <a:pt x="0" y="1872208"/>
                </a:lnTo>
                <a:close/>
                <a:moveTo>
                  <a:pt x="0" y="0"/>
                </a:moveTo>
                <a:lnTo>
                  <a:pt x="916" y="0"/>
                </a:lnTo>
                <a:lnTo>
                  <a:pt x="0" y="0"/>
                </a:lnTo>
                <a:close/>
              </a:path>
            </a:pathLst>
          </a:custGeom>
          <a:noFill/>
          <a:ln w="3175" cap="sq" cmpd="sng" algn="ctr">
            <a:noFill/>
            <a:prstDash val="solid"/>
            <a:beve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edra Sans Std Medium" panose="020B0604040000020004" pitchFamily="34" charset="0"/>
                <a:cs typeface="+mn-cs"/>
                <a:sym typeface="Arial" panose="020B0604020202020204" pitchFamily="34" charset="0"/>
              </a:rPr>
              <a:t>Egg.js内置对象</a:t>
            </a:r>
            <a:endParaRPr kumimoji="0" lang="en-US" altLang="zh-CN" sz="2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edra Sans Std Medium" panose="020B0604040000020004" pitchFamily="34" charset="0"/>
              <a:cs typeface="+mn-cs"/>
              <a:sym typeface="Arial" panose="020B0604020202020204" pitchFamily="34" charset="0"/>
            </a:endParaRPr>
          </a:p>
        </p:txBody>
      </p:sp>
      <p:sp>
        <p:nvSpPr>
          <p:cNvPr id="73" name="MH_Number_2"/>
          <p:cNvSpPr/>
          <p:nvPr>
            <p:custDataLst>
              <p:tags r:id="rId3"/>
            </p:custDataLst>
          </p:nvPr>
        </p:nvSpPr>
        <p:spPr>
          <a:xfrm>
            <a:off x="6789097" y="2429582"/>
            <a:ext cx="379667" cy="379667"/>
          </a:xfrm>
          <a:prstGeom prst="ellipse">
            <a:avLst/>
          </a:prstGeom>
          <a:noFill/>
          <a:ln w="28575" cap="flat" cmpd="sng" algn="ctr">
            <a:solidFill>
              <a:srgbClr val="C0504D"/>
            </a:solidFill>
            <a:prstDash val="solid"/>
            <a:miter lim="800000"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110" b="1" i="0" u="none" strike="noStrike" kern="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等线" panose="020F0502020204030204"/>
                <a:cs typeface="Times New Roman" panose="02020603050405020304" pitchFamily="18" charset="0"/>
                <a:sym typeface="Arial" panose="020B0604020202020204" pitchFamily="34" charset="0"/>
              </a:rPr>
              <a:t>2</a:t>
            </a:r>
            <a:endParaRPr kumimoji="0" lang="zh-CN" altLang="en-US" sz="2110" b="1" i="0" u="none" strike="noStrike" kern="0" cap="none" spc="0" normalizeH="0" baseline="0" noProof="0" dirty="0" smtClean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等线" panose="020F0502020204030204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74" name="MH_Entry_2"/>
          <p:cNvSpPr/>
          <p:nvPr>
            <p:custDataLst>
              <p:tags r:id="rId4"/>
            </p:custDataLst>
          </p:nvPr>
        </p:nvSpPr>
        <p:spPr>
          <a:xfrm>
            <a:off x="7811896" y="2421112"/>
            <a:ext cx="2602582" cy="430530"/>
          </a:xfrm>
          <a:custGeom>
            <a:avLst/>
            <a:gdLst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2520280 w 2520280"/>
              <a:gd name="connsiteY7" fmla="*/ 288032 h 1872208"/>
              <a:gd name="connsiteX8" fmla="*/ 0 w 2520280"/>
              <a:gd name="connsiteY8" fmla="*/ 0 h 1872208"/>
              <a:gd name="connsiteX0-1" fmla="*/ 0 w 2520280"/>
              <a:gd name="connsiteY0-2" fmla="*/ 1584176 h 1872208"/>
              <a:gd name="connsiteX1-3" fmla="*/ 2520280 w 2520280"/>
              <a:gd name="connsiteY1-4" fmla="*/ 1584176 h 1872208"/>
              <a:gd name="connsiteX2-5" fmla="*/ 2520280 w 2520280"/>
              <a:gd name="connsiteY2-6" fmla="*/ 1872208 h 1872208"/>
              <a:gd name="connsiteX3-7" fmla="*/ 0 w 2520280"/>
              <a:gd name="connsiteY3-8" fmla="*/ 1872208 h 1872208"/>
              <a:gd name="connsiteX4-9" fmla="*/ 0 w 2520280"/>
              <a:gd name="connsiteY4-10" fmla="*/ 1584176 h 1872208"/>
              <a:gd name="connsiteX5-11" fmla="*/ 0 w 2520280"/>
              <a:gd name="connsiteY5-12" fmla="*/ 0 h 1872208"/>
              <a:gd name="connsiteX6-13" fmla="*/ 2520280 w 2520280"/>
              <a:gd name="connsiteY6-14" fmla="*/ 0 h 1872208"/>
              <a:gd name="connsiteX7-15" fmla="*/ 0 w 2520280"/>
              <a:gd name="connsiteY7-16" fmla="*/ 0 h 1872208"/>
              <a:gd name="connsiteX0-17" fmla="*/ 0 w 2520280"/>
              <a:gd name="connsiteY0-18" fmla="*/ 1872208 h 1872208"/>
              <a:gd name="connsiteX1-19" fmla="*/ 2520280 w 2520280"/>
              <a:gd name="connsiteY1-20" fmla="*/ 1584176 h 1872208"/>
              <a:gd name="connsiteX2-21" fmla="*/ 2520280 w 2520280"/>
              <a:gd name="connsiteY2-22" fmla="*/ 1872208 h 1872208"/>
              <a:gd name="connsiteX3-23" fmla="*/ 0 w 2520280"/>
              <a:gd name="connsiteY3-24" fmla="*/ 1872208 h 1872208"/>
              <a:gd name="connsiteX4-25" fmla="*/ 0 w 2520280"/>
              <a:gd name="connsiteY4-26" fmla="*/ 0 h 1872208"/>
              <a:gd name="connsiteX5-27" fmla="*/ 2520280 w 2520280"/>
              <a:gd name="connsiteY5-28" fmla="*/ 0 h 1872208"/>
              <a:gd name="connsiteX6-29" fmla="*/ 0 w 2520280"/>
              <a:gd name="connsiteY6-30" fmla="*/ 0 h 1872208"/>
              <a:gd name="connsiteX0-31" fmla="*/ 0 w 2520280"/>
              <a:gd name="connsiteY0-32" fmla="*/ 1872208 h 1872208"/>
              <a:gd name="connsiteX1-33" fmla="*/ 2520280 w 2520280"/>
              <a:gd name="connsiteY1-34" fmla="*/ 1872208 h 1872208"/>
              <a:gd name="connsiteX2-35" fmla="*/ 0 w 2520280"/>
              <a:gd name="connsiteY2-36" fmla="*/ 1872208 h 1872208"/>
              <a:gd name="connsiteX3-37" fmla="*/ 0 w 2520280"/>
              <a:gd name="connsiteY3-38" fmla="*/ 0 h 1872208"/>
              <a:gd name="connsiteX4-39" fmla="*/ 2520280 w 2520280"/>
              <a:gd name="connsiteY4-40" fmla="*/ 0 h 1872208"/>
              <a:gd name="connsiteX5-41" fmla="*/ 0 w 2520280"/>
              <a:gd name="connsiteY5-42" fmla="*/ 0 h 1872208"/>
              <a:gd name="connsiteX0-43" fmla="*/ 0 w 2520280"/>
              <a:gd name="connsiteY0-44" fmla="*/ 1872208 h 1872208"/>
              <a:gd name="connsiteX1-45" fmla="*/ 2520280 w 2520280"/>
              <a:gd name="connsiteY1-46" fmla="*/ 1872208 h 1872208"/>
              <a:gd name="connsiteX2-47" fmla="*/ 0 w 2520280"/>
              <a:gd name="connsiteY2-48" fmla="*/ 1872208 h 1872208"/>
              <a:gd name="connsiteX3-49" fmla="*/ 0 w 2520280"/>
              <a:gd name="connsiteY3-50" fmla="*/ 0 h 1872208"/>
              <a:gd name="connsiteX4-51" fmla="*/ 34255 w 2520280"/>
              <a:gd name="connsiteY4-52" fmla="*/ 0 h 1872208"/>
              <a:gd name="connsiteX5-53" fmla="*/ 0 w 2520280"/>
              <a:gd name="connsiteY5-54" fmla="*/ 0 h 1872208"/>
              <a:gd name="connsiteX0-55" fmla="*/ 0 w 2520280"/>
              <a:gd name="connsiteY0-56" fmla="*/ 1872208 h 1872208"/>
              <a:gd name="connsiteX1-57" fmla="*/ 2520280 w 2520280"/>
              <a:gd name="connsiteY1-58" fmla="*/ 1872208 h 1872208"/>
              <a:gd name="connsiteX2-59" fmla="*/ 0 w 2520280"/>
              <a:gd name="connsiteY2-60" fmla="*/ 1872208 h 1872208"/>
              <a:gd name="connsiteX3-61" fmla="*/ 0 w 2520280"/>
              <a:gd name="connsiteY3-62" fmla="*/ 0 h 1872208"/>
              <a:gd name="connsiteX4-63" fmla="*/ 917 w 2520280"/>
              <a:gd name="connsiteY4-64" fmla="*/ 6036 h 1872208"/>
              <a:gd name="connsiteX5-65" fmla="*/ 0 w 2520280"/>
              <a:gd name="connsiteY5-66" fmla="*/ 0 h 1872208"/>
              <a:gd name="connsiteX0-67" fmla="*/ 0 w 2520280"/>
              <a:gd name="connsiteY0-68" fmla="*/ 1890314 h 1890314"/>
              <a:gd name="connsiteX1-69" fmla="*/ 2520280 w 2520280"/>
              <a:gd name="connsiteY1-70" fmla="*/ 1890314 h 1890314"/>
              <a:gd name="connsiteX2-71" fmla="*/ 0 w 2520280"/>
              <a:gd name="connsiteY2-72" fmla="*/ 1890314 h 1890314"/>
              <a:gd name="connsiteX3-73" fmla="*/ 0 w 2520280"/>
              <a:gd name="connsiteY3-74" fmla="*/ 18106 h 1890314"/>
              <a:gd name="connsiteX4-75" fmla="*/ 53304 w 2520280"/>
              <a:gd name="connsiteY4-76" fmla="*/ 0 h 1890314"/>
              <a:gd name="connsiteX5-77" fmla="*/ 0 w 2520280"/>
              <a:gd name="connsiteY5-78" fmla="*/ 18106 h 1890314"/>
              <a:gd name="connsiteX0-79" fmla="*/ 0 w 2520280"/>
              <a:gd name="connsiteY0-80" fmla="*/ 1872208 h 1872208"/>
              <a:gd name="connsiteX1-81" fmla="*/ 2520280 w 2520280"/>
              <a:gd name="connsiteY1-82" fmla="*/ 1872208 h 1872208"/>
              <a:gd name="connsiteX2-83" fmla="*/ 0 w 2520280"/>
              <a:gd name="connsiteY2-84" fmla="*/ 1872208 h 1872208"/>
              <a:gd name="connsiteX3-85" fmla="*/ 0 w 2520280"/>
              <a:gd name="connsiteY3-86" fmla="*/ 0 h 1872208"/>
              <a:gd name="connsiteX4-87" fmla="*/ 916 w 2520280"/>
              <a:gd name="connsiteY4-88" fmla="*/ 0 h 1872208"/>
              <a:gd name="connsiteX5-89" fmla="*/ 0 w 2520280"/>
              <a:gd name="connsiteY5-90" fmla="*/ 0 h 187220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2520280" h="1872208">
                <a:moveTo>
                  <a:pt x="0" y="1872208"/>
                </a:moveTo>
                <a:lnTo>
                  <a:pt x="2520280" y="1872208"/>
                </a:lnTo>
                <a:lnTo>
                  <a:pt x="0" y="1872208"/>
                </a:lnTo>
                <a:close/>
                <a:moveTo>
                  <a:pt x="0" y="0"/>
                </a:moveTo>
                <a:lnTo>
                  <a:pt x="916" y="0"/>
                </a:lnTo>
                <a:lnTo>
                  <a:pt x="0" y="0"/>
                </a:lnTo>
                <a:close/>
              </a:path>
            </a:pathLst>
          </a:custGeom>
          <a:noFill/>
          <a:ln w="3175" cap="sq" cmpd="sng" algn="ctr">
            <a:noFill/>
            <a:prstDash val="solid"/>
            <a:beve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edra Sans Std Medium" panose="020B0604040000020004" pitchFamily="34" charset="0"/>
                <a:cs typeface="+mn-cs"/>
                <a:sym typeface="Arial" panose="020B0604020202020204" pitchFamily="34" charset="0"/>
              </a:rPr>
              <a:t>Egg.js</a:t>
            </a:r>
            <a:r>
              <a:rPr kumimoji="0" lang="zh-CN" altLang="en-US" sz="2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edra Sans Std Medium" panose="020B0604040000020004" pitchFamily="34" charset="0"/>
                <a:cs typeface="+mn-cs"/>
                <a:sym typeface="Arial" panose="020B0604020202020204" pitchFamily="34" charset="0"/>
              </a:rPr>
              <a:t>应用服务</a:t>
            </a:r>
            <a:endParaRPr kumimoji="0" lang="zh-CN" altLang="en-US" sz="2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edra Sans Std Medium" panose="020B0604040000020004" pitchFamily="34" charset="0"/>
              <a:cs typeface="+mn-cs"/>
              <a:sym typeface="Arial" panose="020B0604020202020204" pitchFamily="34" charset="0"/>
            </a:endParaRPr>
          </a:p>
        </p:txBody>
      </p:sp>
      <p:sp>
        <p:nvSpPr>
          <p:cNvPr id="75" name="MH_Number_3"/>
          <p:cNvSpPr/>
          <p:nvPr>
            <p:custDataLst>
              <p:tags r:id="rId5"/>
            </p:custDataLst>
          </p:nvPr>
        </p:nvSpPr>
        <p:spPr>
          <a:xfrm>
            <a:off x="6789097" y="3572148"/>
            <a:ext cx="379667" cy="379667"/>
          </a:xfrm>
          <a:prstGeom prst="ellipse">
            <a:avLst/>
          </a:prstGeom>
          <a:noFill/>
          <a:ln w="28575" cap="flat" cmpd="sng" algn="ctr">
            <a:solidFill>
              <a:srgbClr val="C0504D"/>
            </a:solidFill>
            <a:prstDash val="solid"/>
            <a:miter lim="800000"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110" b="1" i="0" u="none" strike="noStrike" kern="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等线" panose="020F0502020204030204"/>
                <a:cs typeface="Times New Roman" panose="02020603050405020304" pitchFamily="18" charset="0"/>
                <a:sym typeface="Arial" panose="020B0604020202020204" pitchFamily="34" charset="0"/>
              </a:rPr>
              <a:t>3</a:t>
            </a:r>
            <a:endParaRPr kumimoji="0" lang="zh-CN" altLang="en-US" sz="2110" b="1" i="0" u="none" strike="noStrike" kern="0" cap="none" spc="0" normalizeH="0" baseline="0" noProof="0" dirty="0" smtClean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等线" panose="020F0502020204030204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76" name="MH_Entry_3"/>
          <p:cNvSpPr/>
          <p:nvPr>
            <p:custDataLst>
              <p:tags r:id="rId6"/>
            </p:custDataLst>
          </p:nvPr>
        </p:nvSpPr>
        <p:spPr>
          <a:xfrm>
            <a:off x="7811896" y="3563679"/>
            <a:ext cx="2602582" cy="430530"/>
          </a:xfrm>
          <a:custGeom>
            <a:avLst/>
            <a:gdLst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2520280 w 2520280"/>
              <a:gd name="connsiteY7" fmla="*/ 288032 h 1872208"/>
              <a:gd name="connsiteX8" fmla="*/ 0 w 2520280"/>
              <a:gd name="connsiteY8" fmla="*/ 0 h 1872208"/>
              <a:gd name="connsiteX0-1" fmla="*/ 0 w 2520280"/>
              <a:gd name="connsiteY0-2" fmla="*/ 1584176 h 1872208"/>
              <a:gd name="connsiteX1-3" fmla="*/ 2520280 w 2520280"/>
              <a:gd name="connsiteY1-4" fmla="*/ 1584176 h 1872208"/>
              <a:gd name="connsiteX2-5" fmla="*/ 2520280 w 2520280"/>
              <a:gd name="connsiteY2-6" fmla="*/ 1872208 h 1872208"/>
              <a:gd name="connsiteX3-7" fmla="*/ 0 w 2520280"/>
              <a:gd name="connsiteY3-8" fmla="*/ 1872208 h 1872208"/>
              <a:gd name="connsiteX4-9" fmla="*/ 0 w 2520280"/>
              <a:gd name="connsiteY4-10" fmla="*/ 1584176 h 1872208"/>
              <a:gd name="connsiteX5-11" fmla="*/ 0 w 2520280"/>
              <a:gd name="connsiteY5-12" fmla="*/ 0 h 1872208"/>
              <a:gd name="connsiteX6-13" fmla="*/ 2520280 w 2520280"/>
              <a:gd name="connsiteY6-14" fmla="*/ 0 h 1872208"/>
              <a:gd name="connsiteX7-15" fmla="*/ 0 w 2520280"/>
              <a:gd name="connsiteY7-16" fmla="*/ 0 h 1872208"/>
              <a:gd name="connsiteX0-17" fmla="*/ 0 w 2520280"/>
              <a:gd name="connsiteY0-18" fmla="*/ 1872208 h 1872208"/>
              <a:gd name="connsiteX1-19" fmla="*/ 2520280 w 2520280"/>
              <a:gd name="connsiteY1-20" fmla="*/ 1584176 h 1872208"/>
              <a:gd name="connsiteX2-21" fmla="*/ 2520280 w 2520280"/>
              <a:gd name="connsiteY2-22" fmla="*/ 1872208 h 1872208"/>
              <a:gd name="connsiteX3-23" fmla="*/ 0 w 2520280"/>
              <a:gd name="connsiteY3-24" fmla="*/ 1872208 h 1872208"/>
              <a:gd name="connsiteX4-25" fmla="*/ 0 w 2520280"/>
              <a:gd name="connsiteY4-26" fmla="*/ 0 h 1872208"/>
              <a:gd name="connsiteX5-27" fmla="*/ 2520280 w 2520280"/>
              <a:gd name="connsiteY5-28" fmla="*/ 0 h 1872208"/>
              <a:gd name="connsiteX6-29" fmla="*/ 0 w 2520280"/>
              <a:gd name="connsiteY6-30" fmla="*/ 0 h 1872208"/>
              <a:gd name="connsiteX0-31" fmla="*/ 0 w 2520280"/>
              <a:gd name="connsiteY0-32" fmla="*/ 1872208 h 1872208"/>
              <a:gd name="connsiteX1-33" fmla="*/ 2520280 w 2520280"/>
              <a:gd name="connsiteY1-34" fmla="*/ 1872208 h 1872208"/>
              <a:gd name="connsiteX2-35" fmla="*/ 0 w 2520280"/>
              <a:gd name="connsiteY2-36" fmla="*/ 1872208 h 1872208"/>
              <a:gd name="connsiteX3-37" fmla="*/ 0 w 2520280"/>
              <a:gd name="connsiteY3-38" fmla="*/ 0 h 1872208"/>
              <a:gd name="connsiteX4-39" fmla="*/ 2520280 w 2520280"/>
              <a:gd name="connsiteY4-40" fmla="*/ 0 h 1872208"/>
              <a:gd name="connsiteX5-41" fmla="*/ 0 w 2520280"/>
              <a:gd name="connsiteY5-42" fmla="*/ 0 h 1872208"/>
              <a:gd name="connsiteX0-43" fmla="*/ 0 w 2520280"/>
              <a:gd name="connsiteY0-44" fmla="*/ 1872208 h 1872208"/>
              <a:gd name="connsiteX1-45" fmla="*/ 2520280 w 2520280"/>
              <a:gd name="connsiteY1-46" fmla="*/ 1872208 h 1872208"/>
              <a:gd name="connsiteX2-47" fmla="*/ 0 w 2520280"/>
              <a:gd name="connsiteY2-48" fmla="*/ 1872208 h 1872208"/>
              <a:gd name="connsiteX3-49" fmla="*/ 0 w 2520280"/>
              <a:gd name="connsiteY3-50" fmla="*/ 0 h 1872208"/>
              <a:gd name="connsiteX4-51" fmla="*/ 34255 w 2520280"/>
              <a:gd name="connsiteY4-52" fmla="*/ 0 h 1872208"/>
              <a:gd name="connsiteX5-53" fmla="*/ 0 w 2520280"/>
              <a:gd name="connsiteY5-54" fmla="*/ 0 h 1872208"/>
              <a:gd name="connsiteX0-55" fmla="*/ 0 w 2520280"/>
              <a:gd name="connsiteY0-56" fmla="*/ 1872208 h 1872208"/>
              <a:gd name="connsiteX1-57" fmla="*/ 2520280 w 2520280"/>
              <a:gd name="connsiteY1-58" fmla="*/ 1872208 h 1872208"/>
              <a:gd name="connsiteX2-59" fmla="*/ 0 w 2520280"/>
              <a:gd name="connsiteY2-60" fmla="*/ 1872208 h 1872208"/>
              <a:gd name="connsiteX3-61" fmla="*/ 0 w 2520280"/>
              <a:gd name="connsiteY3-62" fmla="*/ 0 h 1872208"/>
              <a:gd name="connsiteX4-63" fmla="*/ 917 w 2520280"/>
              <a:gd name="connsiteY4-64" fmla="*/ 6036 h 1872208"/>
              <a:gd name="connsiteX5-65" fmla="*/ 0 w 2520280"/>
              <a:gd name="connsiteY5-66" fmla="*/ 0 h 1872208"/>
              <a:gd name="connsiteX0-67" fmla="*/ 0 w 2520280"/>
              <a:gd name="connsiteY0-68" fmla="*/ 1890314 h 1890314"/>
              <a:gd name="connsiteX1-69" fmla="*/ 2520280 w 2520280"/>
              <a:gd name="connsiteY1-70" fmla="*/ 1890314 h 1890314"/>
              <a:gd name="connsiteX2-71" fmla="*/ 0 w 2520280"/>
              <a:gd name="connsiteY2-72" fmla="*/ 1890314 h 1890314"/>
              <a:gd name="connsiteX3-73" fmla="*/ 0 w 2520280"/>
              <a:gd name="connsiteY3-74" fmla="*/ 18106 h 1890314"/>
              <a:gd name="connsiteX4-75" fmla="*/ 53304 w 2520280"/>
              <a:gd name="connsiteY4-76" fmla="*/ 0 h 1890314"/>
              <a:gd name="connsiteX5-77" fmla="*/ 0 w 2520280"/>
              <a:gd name="connsiteY5-78" fmla="*/ 18106 h 1890314"/>
              <a:gd name="connsiteX0-79" fmla="*/ 0 w 2520280"/>
              <a:gd name="connsiteY0-80" fmla="*/ 1872208 h 1872208"/>
              <a:gd name="connsiteX1-81" fmla="*/ 2520280 w 2520280"/>
              <a:gd name="connsiteY1-82" fmla="*/ 1872208 h 1872208"/>
              <a:gd name="connsiteX2-83" fmla="*/ 0 w 2520280"/>
              <a:gd name="connsiteY2-84" fmla="*/ 1872208 h 1872208"/>
              <a:gd name="connsiteX3-85" fmla="*/ 0 w 2520280"/>
              <a:gd name="connsiteY3-86" fmla="*/ 0 h 1872208"/>
              <a:gd name="connsiteX4-87" fmla="*/ 916 w 2520280"/>
              <a:gd name="connsiteY4-88" fmla="*/ 0 h 1872208"/>
              <a:gd name="connsiteX5-89" fmla="*/ 0 w 2520280"/>
              <a:gd name="connsiteY5-90" fmla="*/ 0 h 187220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2520280" h="1872208">
                <a:moveTo>
                  <a:pt x="0" y="1872208"/>
                </a:moveTo>
                <a:lnTo>
                  <a:pt x="2520280" y="1872208"/>
                </a:lnTo>
                <a:lnTo>
                  <a:pt x="0" y="1872208"/>
                </a:lnTo>
                <a:close/>
                <a:moveTo>
                  <a:pt x="0" y="0"/>
                </a:moveTo>
                <a:lnTo>
                  <a:pt x="916" y="0"/>
                </a:lnTo>
                <a:lnTo>
                  <a:pt x="0" y="0"/>
                </a:lnTo>
                <a:close/>
              </a:path>
            </a:pathLst>
          </a:custGeom>
          <a:noFill/>
          <a:ln w="3175" cap="sq" cmpd="sng" algn="ctr">
            <a:noFill/>
            <a:prstDash val="solid"/>
            <a:beve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edra Sans Std Medium" panose="020B0604040000020004" pitchFamily="34" charset="0"/>
                <a:cs typeface="+mn-cs"/>
                <a:sym typeface="Arial" panose="020B0604020202020204" pitchFamily="34" charset="0"/>
              </a:rPr>
              <a:t>Egg.js</a:t>
            </a:r>
            <a:r>
              <a:rPr kumimoji="0" lang="zh-CN" altLang="en-US" sz="2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edra Sans Std Medium" panose="020B0604040000020004" pitchFamily="34" charset="0"/>
                <a:cs typeface="+mn-cs"/>
                <a:sym typeface="Arial" panose="020B0604020202020204" pitchFamily="34" charset="0"/>
              </a:rPr>
              <a:t>应用日志</a:t>
            </a:r>
            <a:endParaRPr kumimoji="0" lang="zh-CN" altLang="en-US" sz="2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edra Sans Std Medium" panose="020B0604040000020004" pitchFamily="34" charset="0"/>
              <a:cs typeface="+mn-cs"/>
              <a:sym typeface="Arial" panose="020B0604020202020204" pitchFamily="34" charset="0"/>
            </a:endParaRPr>
          </a:p>
        </p:txBody>
      </p:sp>
      <p:sp>
        <p:nvSpPr>
          <p:cNvPr id="77" name="MH_Number_4"/>
          <p:cNvSpPr/>
          <p:nvPr>
            <p:custDataLst>
              <p:tags r:id="rId7"/>
            </p:custDataLst>
          </p:nvPr>
        </p:nvSpPr>
        <p:spPr>
          <a:xfrm>
            <a:off x="6789097" y="4714714"/>
            <a:ext cx="379667" cy="379667"/>
          </a:xfrm>
          <a:prstGeom prst="ellipse">
            <a:avLst/>
          </a:prstGeom>
          <a:noFill/>
          <a:ln w="28575" cap="flat" cmpd="sng" algn="ctr">
            <a:solidFill>
              <a:srgbClr val="C0504D"/>
            </a:solidFill>
            <a:prstDash val="solid"/>
            <a:miter lim="800000"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110" b="1" i="0" u="none" strike="noStrike" kern="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等线" panose="020F0502020204030204"/>
                <a:cs typeface="Times New Roman" panose="02020603050405020304" pitchFamily="18" charset="0"/>
                <a:sym typeface="Arial" panose="020B0604020202020204" pitchFamily="34" charset="0"/>
              </a:rPr>
              <a:t>4</a:t>
            </a:r>
            <a:endParaRPr kumimoji="0" lang="zh-CN" altLang="en-US" sz="2110" b="1" i="0" u="none" strike="noStrike" kern="0" cap="none" spc="0" normalizeH="0" baseline="0" noProof="0" dirty="0" smtClean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等线" panose="020F0502020204030204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78" name="MH_Entry_4"/>
          <p:cNvSpPr/>
          <p:nvPr>
            <p:custDataLst>
              <p:tags r:id="rId8"/>
            </p:custDataLst>
          </p:nvPr>
        </p:nvSpPr>
        <p:spPr>
          <a:xfrm>
            <a:off x="7811896" y="4706245"/>
            <a:ext cx="2602582" cy="430530"/>
          </a:xfrm>
          <a:custGeom>
            <a:avLst/>
            <a:gdLst>
              <a:gd name="connsiteX0" fmla="*/ 0 w 2520280"/>
              <a:gd name="connsiteY0" fmla="*/ 1584176 h 1872208"/>
              <a:gd name="connsiteX1" fmla="*/ 2520280 w 2520280"/>
              <a:gd name="connsiteY1" fmla="*/ 1584176 h 1872208"/>
              <a:gd name="connsiteX2" fmla="*/ 2520280 w 2520280"/>
              <a:gd name="connsiteY2" fmla="*/ 1872208 h 1872208"/>
              <a:gd name="connsiteX3" fmla="*/ 0 w 2520280"/>
              <a:gd name="connsiteY3" fmla="*/ 1872208 h 1872208"/>
              <a:gd name="connsiteX4" fmla="*/ 0 w 2520280"/>
              <a:gd name="connsiteY4" fmla="*/ 1584176 h 1872208"/>
              <a:gd name="connsiteX5" fmla="*/ 0 w 2520280"/>
              <a:gd name="connsiteY5" fmla="*/ 0 h 1872208"/>
              <a:gd name="connsiteX6" fmla="*/ 2520280 w 2520280"/>
              <a:gd name="connsiteY6" fmla="*/ 0 h 1872208"/>
              <a:gd name="connsiteX7" fmla="*/ 2520280 w 2520280"/>
              <a:gd name="connsiteY7" fmla="*/ 288032 h 1872208"/>
              <a:gd name="connsiteX8" fmla="*/ 0 w 2520280"/>
              <a:gd name="connsiteY8" fmla="*/ 0 h 1872208"/>
              <a:gd name="connsiteX0-1" fmla="*/ 0 w 2520280"/>
              <a:gd name="connsiteY0-2" fmla="*/ 1584176 h 1872208"/>
              <a:gd name="connsiteX1-3" fmla="*/ 2520280 w 2520280"/>
              <a:gd name="connsiteY1-4" fmla="*/ 1584176 h 1872208"/>
              <a:gd name="connsiteX2-5" fmla="*/ 2520280 w 2520280"/>
              <a:gd name="connsiteY2-6" fmla="*/ 1872208 h 1872208"/>
              <a:gd name="connsiteX3-7" fmla="*/ 0 w 2520280"/>
              <a:gd name="connsiteY3-8" fmla="*/ 1872208 h 1872208"/>
              <a:gd name="connsiteX4-9" fmla="*/ 0 w 2520280"/>
              <a:gd name="connsiteY4-10" fmla="*/ 1584176 h 1872208"/>
              <a:gd name="connsiteX5-11" fmla="*/ 0 w 2520280"/>
              <a:gd name="connsiteY5-12" fmla="*/ 0 h 1872208"/>
              <a:gd name="connsiteX6-13" fmla="*/ 2520280 w 2520280"/>
              <a:gd name="connsiteY6-14" fmla="*/ 0 h 1872208"/>
              <a:gd name="connsiteX7-15" fmla="*/ 0 w 2520280"/>
              <a:gd name="connsiteY7-16" fmla="*/ 0 h 1872208"/>
              <a:gd name="connsiteX0-17" fmla="*/ 0 w 2520280"/>
              <a:gd name="connsiteY0-18" fmla="*/ 1872208 h 1872208"/>
              <a:gd name="connsiteX1-19" fmla="*/ 2520280 w 2520280"/>
              <a:gd name="connsiteY1-20" fmla="*/ 1584176 h 1872208"/>
              <a:gd name="connsiteX2-21" fmla="*/ 2520280 w 2520280"/>
              <a:gd name="connsiteY2-22" fmla="*/ 1872208 h 1872208"/>
              <a:gd name="connsiteX3-23" fmla="*/ 0 w 2520280"/>
              <a:gd name="connsiteY3-24" fmla="*/ 1872208 h 1872208"/>
              <a:gd name="connsiteX4-25" fmla="*/ 0 w 2520280"/>
              <a:gd name="connsiteY4-26" fmla="*/ 0 h 1872208"/>
              <a:gd name="connsiteX5-27" fmla="*/ 2520280 w 2520280"/>
              <a:gd name="connsiteY5-28" fmla="*/ 0 h 1872208"/>
              <a:gd name="connsiteX6-29" fmla="*/ 0 w 2520280"/>
              <a:gd name="connsiteY6-30" fmla="*/ 0 h 1872208"/>
              <a:gd name="connsiteX0-31" fmla="*/ 0 w 2520280"/>
              <a:gd name="connsiteY0-32" fmla="*/ 1872208 h 1872208"/>
              <a:gd name="connsiteX1-33" fmla="*/ 2520280 w 2520280"/>
              <a:gd name="connsiteY1-34" fmla="*/ 1872208 h 1872208"/>
              <a:gd name="connsiteX2-35" fmla="*/ 0 w 2520280"/>
              <a:gd name="connsiteY2-36" fmla="*/ 1872208 h 1872208"/>
              <a:gd name="connsiteX3-37" fmla="*/ 0 w 2520280"/>
              <a:gd name="connsiteY3-38" fmla="*/ 0 h 1872208"/>
              <a:gd name="connsiteX4-39" fmla="*/ 2520280 w 2520280"/>
              <a:gd name="connsiteY4-40" fmla="*/ 0 h 1872208"/>
              <a:gd name="connsiteX5-41" fmla="*/ 0 w 2520280"/>
              <a:gd name="connsiteY5-42" fmla="*/ 0 h 1872208"/>
              <a:gd name="connsiteX0-43" fmla="*/ 0 w 2520280"/>
              <a:gd name="connsiteY0-44" fmla="*/ 1872208 h 1872208"/>
              <a:gd name="connsiteX1-45" fmla="*/ 2520280 w 2520280"/>
              <a:gd name="connsiteY1-46" fmla="*/ 1872208 h 1872208"/>
              <a:gd name="connsiteX2-47" fmla="*/ 0 w 2520280"/>
              <a:gd name="connsiteY2-48" fmla="*/ 1872208 h 1872208"/>
              <a:gd name="connsiteX3-49" fmla="*/ 0 w 2520280"/>
              <a:gd name="connsiteY3-50" fmla="*/ 0 h 1872208"/>
              <a:gd name="connsiteX4-51" fmla="*/ 34255 w 2520280"/>
              <a:gd name="connsiteY4-52" fmla="*/ 0 h 1872208"/>
              <a:gd name="connsiteX5-53" fmla="*/ 0 w 2520280"/>
              <a:gd name="connsiteY5-54" fmla="*/ 0 h 1872208"/>
              <a:gd name="connsiteX0-55" fmla="*/ 0 w 2520280"/>
              <a:gd name="connsiteY0-56" fmla="*/ 1872208 h 1872208"/>
              <a:gd name="connsiteX1-57" fmla="*/ 2520280 w 2520280"/>
              <a:gd name="connsiteY1-58" fmla="*/ 1872208 h 1872208"/>
              <a:gd name="connsiteX2-59" fmla="*/ 0 w 2520280"/>
              <a:gd name="connsiteY2-60" fmla="*/ 1872208 h 1872208"/>
              <a:gd name="connsiteX3-61" fmla="*/ 0 w 2520280"/>
              <a:gd name="connsiteY3-62" fmla="*/ 0 h 1872208"/>
              <a:gd name="connsiteX4-63" fmla="*/ 917 w 2520280"/>
              <a:gd name="connsiteY4-64" fmla="*/ 6036 h 1872208"/>
              <a:gd name="connsiteX5-65" fmla="*/ 0 w 2520280"/>
              <a:gd name="connsiteY5-66" fmla="*/ 0 h 1872208"/>
              <a:gd name="connsiteX0-67" fmla="*/ 0 w 2520280"/>
              <a:gd name="connsiteY0-68" fmla="*/ 1890314 h 1890314"/>
              <a:gd name="connsiteX1-69" fmla="*/ 2520280 w 2520280"/>
              <a:gd name="connsiteY1-70" fmla="*/ 1890314 h 1890314"/>
              <a:gd name="connsiteX2-71" fmla="*/ 0 w 2520280"/>
              <a:gd name="connsiteY2-72" fmla="*/ 1890314 h 1890314"/>
              <a:gd name="connsiteX3-73" fmla="*/ 0 w 2520280"/>
              <a:gd name="connsiteY3-74" fmla="*/ 18106 h 1890314"/>
              <a:gd name="connsiteX4-75" fmla="*/ 53304 w 2520280"/>
              <a:gd name="connsiteY4-76" fmla="*/ 0 h 1890314"/>
              <a:gd name="connsiteX5-77" fmla="*/ 0 w 2520280"/>
              <a:gd name="connsiteY5-78" fmla="*/ 18106 h 1890314"/>
              <a:gd name="connsiteX0-79" fmla="*/ 0 w 2520280"/>
              <a:gd name="connsiteY0-80" fmla="*/ 1872208 h 1872208"/>
              <a:gd name="connsiteX1-81" fmla="*/ 2520280 w 2520280"/>
              <a:gd name="connsiteY1-82" fmla="*/ 1872208 h 1872208"/>
              <a:gd name="connsiteX2-83" fmla="*/ 0 w 2520280"/>
              <a:gd name="connsiteY2-84" fmla="*/ 1872208 h 1872208"/>
              <a:gd name="connsiteX3-85" fmla="*/ 0 w 2520280"/>
              <a:gd name="connsiteY3-86" fmla="*/ 0 h 1872208"/>
              <a:gd name="connsiteX4-87" fmla="*/ 916 w 2520280"/>
              <a:gd name="connsiteY4-88" fmla="*/ 0 h 1872208"/>
              <a:gd name="connsiteX5-89" fmla="*/ 0 w 2520280"/>
              <a:gd name="connsiteY5-90" fmla="*/ 0 h 1872208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2520280" h="1872208">
                <a:moveTo>
                  <a:pt x="0" y="1872208"/>
                </a:moveTo>
                <a:lnTo>
                  <a:pt x="2520280" y="1872208"/>
                </a:lnTo>
                <a:lnTo>
                  <a:pt x="0" y="1872208"/>
                </a:lnTo>
                <a:close/>
                <a:moveTo>
                  <a:pt x="0" y="0"/>
                </a:moveTo>
                <a:lnTo>
                  <a:pt x="916" y="0"/>
                </a:lnTo>
                <a:lnTo>
                  <a:pt x="0" y="0"/>
                </a:lnTo>
                <a:close/>
              </a:path>
            </a:pathLst>
          </a:custGeom>
          <a:noFill/>
          <a:ln w="3175" cap="sq" cmpd="sng" algn="ctr">
            <a:noFill/>
            <a:prstDash val="solid"/>
            <a:beve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edra Sans Std Medium" panose="020B0604040000020004" pitchFamily="34" charset="0"/>
                <a:cs typeface="+mn-cs"/>
                <a:sym typeface="Arial" panose="020B0604020202020204" pitchFamily="34" charset="0"/>
              </a:rPr>
              <a:t>Egg.js</a:t>
            </a:r>
            <a:r>
              <a:rPr kumimoji="0" lang="zh-CN" altLang="en-US" sz="2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edra Sans Std Medium" panose="020B0604040000020004" pitchFamily="34" charset="0"/>
                <a:cs typeface="+mn-cs"/>
                <a:sym typeface="Arial" panose="020B0604020202020204" pitchFamily="34" charset="0"/>
              </a:rPr>
              <a:t>单元测试</a:t>
            </a:r>
            <a:endParaRPr kumimoji="0" lang="zh-CN" altLang="en-US" sz="2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edra Sans Std Medium" panose="020B0604040000020004" pitchFamily="34" charset="0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79" name="组合 78"/>
          <p:cNvGrpSpPr/>
          <p:nvPr/>
        </p:nvGrpSpPr>
        <p:grpSpPr>
          <a:xfrm rot="1634608">
            <a:off x="970108" y="2895678"/>
            <a:ext cx="1257730" cy="3170470"/>
            <a:chOff x="8160109" y="891695"/>
            <a:chExt cx="1257730" cy="3170470"/>
          </a:xfrm>
        </p:grpSpPr>
        <p:sp>
          <p:nvSpPr>
            <p:cNvPr id="80" name="íṩḷîḓè"/>
            <p:cNvSpPr/>
            <p:nvPr userDrawn="1"/>
          </p:nvSpPr>
          <p:spPr>
            <a:xfrm>
              <a:off x="8603205" y="3236522"/>
              <a:ext cx="385300" cy="825643"/>
            </a:xfrm>
            <a:custGeom>
              <a:avLst/>
              <a:gdLst>
                <a:gd name="connsiteX0" fmla="*/ 385300 w 385300"/>
                <a:gd name="connsiteY0" fmla="*/ 192650 h 825643"/>
                <a:gd name="connsiteX1" fmla="*/ 192650 w 385300"/>
                <a:gd name="connsiteY1" fmla="*/ 850413 h 825643"/>
                <a:gd name="connsiteX2" fmla="*/ 0 w 385300"/>
                <a:gd name="connsiteY2" fmla="*/ 192650 h 825643"/>
                <a:gd name="connsiteX3" fmla="*/ 192650 w 385300"/>
                <a:gd name="connsiteY3" fmla="*/ 0 h 825643"/>
                <a:gd name="connsiteX4" fmla="*/ 385300 w 385300"/>
                <a:gd name="connsiteY4" fmla="*/ 192650 h 825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0" h="825643">
                  <a:moveTo>
                    <a:pt x="385300" y="192650"/>
                  </a:moveTo>
                  <a:cubicBezTo>
                    <a:pt x="385300" y="299984"/>
                    <a:pt x="192650" y="850413"/>
                    <a:pt x="192650" y="850413"/>
                  </a:cubicBezTo>
                  <a:cubicBezTo>
                    <a:pt x="192650" y="850413"/>
                    <a:pt x="0" y="297232"/>
                    <a:pt x="0" y="192650"/>
                  </a:cubicBezTo>
                  <a:cubicBezTo>
                    <a:pt x="0" y="85316"/>
                    <a:pt x="85317" y="0"/>
                    <a:pt x="192650" y="0"/>
                  </a:cubicBezTo>
                  <a:cubicBezTo>
                    <a:pt x="299984" y="0"/>
                    <a:pt x="385300" y="85316"/>
                    <a:pt x="385300" y="192650"/>
                  </a:cubicBezTo>
                  <a:close/>
                </a:path>
              </a:pathLst>
            </a:custGeom>
            <a:solidFill>
              <a:srgbClr val="FFC72B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iṡļíḍe"/>
            <p:cNvSpPr/>
            <p:nvPr userDrawn="1"/>
          </p:nvSpPr>
          <p:spPr>
            <a:xfrm>
              <a:off x="8578436" y="3123684"/>
              <a:ext cx="412822" cy="247693"/>
            </a:xfrm>
            <a:custGeom>
              <a:avLst/>
              <a:gdLst>
                <a:gd name="connsiteX0" fmla="*/ 434839 w 412821"/>
                <a:gd name="connsiteY0" fmla="*/ 247693 h 247693"/>
                <a:gd name="connsiteX1" fmla="*/ 0 w 412821"/>
                <a:gd name="connsiteY1" fmla="*/ 247693 h 247693"/>
                <a:gd name="connsiteX2" fmla="*/ 35778 w 412821"/>
                <a:gd name="connsiteY2" fmla="*/ 0 h 247693"/>
                <a:gd name="connsiteX3" fmla="*/ 399061 w 412821"/>
                <a:gd name="connsiteY3" fmla="*/ 0 h 247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2821" h="247693">
                  <a:moveTo>
                    <a:pt x="434839" y="247693"/>
                  </a:moveTo>
                  <a:lnTo>
                    <a:pt x="0" y="247693"/>
                  </a:lnTo>
                  <a:lnTo>
                    <a:pt x="35778" y="0"/>
                  </a:lnTo>
                  <a:lnTo>
                    <a:pt x="399061" y="0"/>
                  </a:lnTo>
                  <a:close/>
                </a:path>
              </a:pathLst>
            </a:custGeom>
            <a:solidFill>
              <a:srgbClr val="526075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íšḻïḓé"/>
            <p:cNvSpPr/>
            <p:nvPr userDrawn="1"/>
          </p:nvSpPr>
          <p:spPr>
            <a:xfrm>
              <a:off x="8160109" y="2765905"/>
              <a:ext cx="385300" cy="880686"/>
            </a:xfrm>
            <a:custGeom>
              <a:avLst/>
              <a:gdLst>
                <a:gd name="connsiteX0" fmla="*/ 322001 w 385300"/>
                <a:gd name="connsiteY0" fmla="*/ 0 h 880686"/>
                <a:gd name="connsiteX1" fmla="*/ 0 w 385300"/>
                <a:gd name="connsiteY1" fmla="*/ 330257 h 880686"/>
                <a:gd name="connsiteX2" fmla="*/ 283471 w 385300"/>
                <a:gd name="connsiteY2" fmla="*/ 880686 h 880686"/>
                <a:gd name="connsiteX3" fmla="*/ 399061 w 385300"/>
                <a:gd name="connsiteY3" fmla="*/ 880686 h 880686"/>
                <a:gd name="connsiteX4" fmla="*/ 399061 w 385300"/>
                <a:gd name="connsiteY4" fmla="*/ 0 h 880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0" h="880686">
                  <a:moveTo>
                    <a:pt x="322001" y="0"/>
                  </a:moveTo>
                  <a:lnTo>
                    <a:pt x="0" y="330257"/>
                  </a:lnTo>
                  <a:lnTo>
                    <a:pt x="283471" y="880686"/>
                  </a:lnTo>
                  <a:lnTo>
                    <a:pt x="399061" y="880686"/>
                  </a:lnTo>
                  <a:lnTo>
                    <a:pt x="399061" y="0"/>
                  </a:lnTo>
                  <a:close/>
                </a:path>
              </a:pathLst>
            </a:custGeom>
            <a:solidFill>
              <a:srgbClr val="CBF060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îṥļïďe"/>
            <p:cNvSpPr/>
            <p:nvPr userDrawn="1"/>
          </p:nvSpPr>
          <p:spPr>
            <a:xfrm>
              <a:off x="9032539" y="2765905"/>
              <a:ext cx="385300" cy="880686"/>
            </a:xfrm>
            <a:custGeom>
              <a:avLst/>
              <a:gdLst>
                <a:gd name="connsiteX0" fmla="*/ 74307 w 385300"/>
                <a:gd name="connsiteY0" fmla="*/ 0 h 880686"/>
                <a:gd name="connsiteX1" fmla="*/ 399061 w 385300"/>
                <a:gd name="connsiteY1" fmla="*/ 330257 h 880686"/>
                <a:gd name="connsiteX2" fmla="*/ 115590 w 385300"/>
                <a:gd name="connsiteY2" fmla="*/ 880686 h 880686"/>
                <a:gd name="connsiteX3" fmla="*/ 0 w 385300"/>
                <a:gd name="connsiteY3" fmla="*/ 880686 h 880686"/>
                <a:gd name="connsiteX4" fmla="*/ 0 w 385300"/>
                <a:gd name="connsiteY4" fmla="*/ 0 h 880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0" h="880686">
                  <a:moveTo>
                    <a:pt x="74307" y="0"/>
                  </a:moveTo>
                  <a:lnTo>
                    <a:pt x="399061" y="330257"/>
                  </a:lnTo>
                  <a:lnTo>
                    <a:pt x="115590" y="880686"/>
                  </a:lnTo>
                  <a:lnTo>
                    <a:pt x="0" y="88068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BF060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iṧlîḍê"/>
            <p:cNvSpPr/>
            <p:nvPr userDrawn="1"/>
          </p:nvSpPr>
          <p:spPr>
            <a:xfrm>
              <a:off x="8290252" y="1629270"/>
              <a:ext cx="990772" cy="1596244"/>
            </a:xfrm>
            <a:custGeom>
              <a:avLst/>
              <a:gdLst>
                <a:gd name="connsiteX0" fmla="*/ 978972 w 990772"/>
                <a:gd name="connsiteY0" fmla="*/ 0 h 1596243"/>
                <a:gd name="connsiteX1" fmla="*/ 505603 w 990772"/>
                <a:gd name="connsiteY1" fmla="*/ 85316 h 1596243"/>
                <a:gd name="connsiteX2" fmla="*/ 32234 w 990772"/>
                <a:gd name="connsiteY2" fmla="*/ 0 h 1596243"/>
                <a:gd name="connsiteX3" fmla="*/ 268919 w 990772"/>
                <a:gd name="connsiteY3" fmla="*/ 1604500 h 1596243"/>
                <a:gd name="connsiteX4" fmla="*/ 505603 w 990772"/>
                <a:gd name="connsiteY4" fmla="*/ 1604500 h 1596243"/>
                <a:gd name="connsiteX5" fmla="*/ 742288 w 990772"/>
                <a:gd name="connsiteY5" fmla="*/ 1604500 h 1596243"/>
                <a:gd name="connsiteX6" fmla="*/ 978972 w 990772"/>
                <a:gd name="connsiteY6" fmla="*/ 0 h 1596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0772" h="1596243">
                  <a:moveTo>
                    <a:pt x="978972" y="0"/>
                  </a:moveTo>
                  <a:lnTo>
                    <a:pt x="505603" y="85316"/>
                  </a:lnTo>
                  <a:lnTo>
                    <a:pt x="32234" y="0"/>
                  </a:lnTo>
                  <a:cubicBezTo>
                    <a:pt x="-110877" y="935729"/>
                    <a:pt x="268919" y="1604500"/>
                    <a:pt x="268919" y="1604500"/>
                  </a:cubicBezTo>
                  <a:lnTo>
                    <a:pt x="505603" y="1604500"/>
                  </a:lnTo>
                  <a:lnTo>
                    <a:pt x="742288" y="1604500"/>
                  </a:lnTo>
                  <a:cubicBezTo>
                    <a:pt x="742288" y="1607252"/>
                    <a:pt x="1119331" y="935729"/>
                    <a:pt x="978972" y="0"/>
                  </a:cubicBezTo>
                  <a:close/>
                </a:path>
              </a:pathLst>
            </a:custGeom>
            <a:solidFill>
              <a:srgbClr val="FFFFFF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íSļíḑè"/>
            <p:cNvSpPr/>
            <p:nvPr userDrawn="1"/>
          </p:nvSpPr>
          <p:spPr>
            <a:xfrm>
              <a:off x="8322486" y="891695"/>
              <a:ext cx="935729" cy="825643"/>
            </a:xfrm>
            <a:custGeom>
              <a:avLst/>
              <a:gdLst>
                <a:gd name="connsiteX0" fmla="*/ 473369 w 935729"/>
                <a:gd name="connsiteY0" fmla="*/ 0 h 825643"/>
                <a:gd name="connsiteX1" fmla="*/ 0 w 935729"/>
                <a:gd name="connsiteY1" fmla="*/ 737575 h 825643"/>
                <a:gd name="connsiteX2" fmla="*/ 473369 w 935729"/>
                <a:gd name="connsiteY2" fmla="*/ 842156 h 825643"/>
                <a:gd name="connsiteX3" fmla="*/ 946738 w 935729"/>
                <a:gd name="connsiteY3" fmla="*/ 737575 h 825643"/>
                <a:gd name="connsiteX4" fmla="*/ 473369 w 935729"/>
                <a:gd name="connsiteY4" fmla="*/ 0 h 825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5729" h="825643">
                  <a:moveTo>
                    <a:pt x="473369" y="0"/>
                  </a:moveTo>
                  <a:cubicBezTo>
                    <a:pt x="88069" y="288975"/>
                    <a:pt x="0" y="737575"/>
                    <a:pt x="0" y="737575"/>
                  </a:cubicBezTo>
                  <a:cubicBezTo>
                    <a:pt x="0" y="737575"/>
                    <a:pt x="211915" y="842156"/>
                    <a:pt x="473369" y="842156"/>
                  </a:cubicBezTo>
                  <a:cubicBezTo>
                    <a:pt x="734823" y="842156"/>
                    <a:pt x="946738" y="737575"/>
                    <a:pt x="946738" y="737575"/>
                  </a:cubicBezTo>
                  <a:cubicBezTo>
                    <a:pt x="946738" y="737575"/>
                    <a:pt x="858669" y="288975"/>
                    <a:pt x="473369" y="0"/>
                  </a:cubicBezTo>
                  <a:close/>
                </a:path>
              </a:pathLst>
            </a:custGeom>
            <a:solidFill>
              <a:srgbClr val="CBF060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ísḻïdê"/>
            <p:cNvSpPr/>
            <p:nvPr userDrawn="1"/>
          </p:nvSpPr>
          <p:spPr>
            <a:xfrm>
              <a:off x="8526145" y="1821920"/>
              <a:ext cx="522907" cy="522907"/>
            </a:xfrm>
            <a:custGeom>
              <a:avLst/>
              <a:gdLst>
                <a:gd name="connsiteX0" fmla="*/ 539420 w 522907"/>
                <a:gd name="connsiteY0" fmla="*/ 269710 h 522907"/>
                <a:gd name="connsiteX1" fmla="*/ 269710 w 522907"/>
                <a:gd name="connsiteY1" fmla="*/ 539420 h 522907"/>
                <a:gd name="connsiteX2" fmla="*/ 1 w 522907"/>
                <a:gd name="connsiteY2" fmla="*/ 269710 h 522907"/>
                <a:gd name="connsiteX3" fmla="*/ 269710 w 522907"/>
                <a:gd name="connsiteY3" fmla="*/ 0 h 522907"/>
                <a:gd name="connsiteX4" fmla="*/ 539420 w 522907"/>
                <a:gd name="connsiteY4" fmla="*/ 269710 h 52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907" h="522907">
                  <a:moveTo>
                    <a:pt x="539420" y="269710"/>
                  </a:moveTo>
                  <a:cubicBezTo>
                    <a:pt x="539420" y="418667"/>
                    <a:pt x="418667" y="539420"/>
                    <a:pt x="269710" y="539420"/>
                  </a:cubicBezTo>
                  <a:cubicBezTo>
                    <a:pt x="120754" y="539420"/>
                    <a:pt x="1" y="418667"/>
                    <a:pt x="1" y="269710"/>
                  </a:cubicBezTo>
                  <a:cubicBezTo>
                    <a:pt x="1" y="120753"/>
                    <a:pt x="120754" y="0"/>
                    <a:pt x="269710" y="0"/>
                  </a:cubicBezTo>
                  <a:cubicBezTo>
                    <a:pt x="418667" y="0"/>
                    <a:pt x="539420" y="120753"/>
                    <a:pt x="539420" y="269710"/>
                  </a:cubicBezTo>
                  <a:close/>
                </a:path>
              </a:pathLst>
            </a:custGeom>
            <a:solidFill>
              <a:srgbClr val="BFC5F2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ïšļíďe"/>
            <p:cNvSpPr/>
            <p:nvPr userDrawn="1"/>
          </p:nvSpPr>
          <p:spPr>
            <a:xfrm>
              <a:off x="8526145" y="1794398"/>
              <a:ext cx="522907" cy="522907"/>
            </a:xfrm>
            <a:custGeom>
              <a:avLst/>
              <a:gdLst>
                <a:gd name="connsiteX0" fmla="*/ 539420 w 522907"/>
                <a:gd name="connsiteY0" fmla="*/ 269710 h 522907"/>
                <a:gd name="connsiteX1" fmla="*/ 269710 w 522907"/>
                <a:gd name="connsiteY1" fmla="*/ 539420 h 522907"/>
                <a:gd name="connsiteX2" fmla="*/ 1 w 522907"/>
                <a:gd name="connsiteY2" fmla="*/ 269710 h 522907"/>
                <a:gd name="connsiteX3" fmla="*/ 269710 w 522907"/>
                <a:gd name="connsiteY3" fmla="*/ 0 h 522907"/>
                <a:gd name="connsiteX4" fmla="*/ 539420 w 522907"/>
                <a:gd name="connsiteY4" fmla="*/ 269710 h 52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907" h="522907">
                  <a:moveTo>
                    <a:pt x="539420" y="269710"/>
                  </a:moveTo>
                  <a:cubicBezTo>
                    <a:pt x="539420" y="418667"/>
                    <a:pt x="418667" y="539420"/>
                    <a:pt x="269710" y="539420"/>
                  </a:cubicBezTo>
                  <a:cubicBezTo>
                    <a:pt x="120754" y="539420"/>
                    <a:pt x="1" y="418667"/>
                    <a:pt x="1" y="269710"/>
                  </a:cubicBezTo>
                  <a:cubicBezTo>
                    <a:pt x="1" y="120753"/>
                    <a:pt x="120754" y="0"/>
                    <a:pt x="269710" y="0"/>
                  </a:cubicBezTo>
                  <a:cubicBezTo>
                    <a:pt x="418667" y="0"/>
                    <a:pt x="539420" y="120753"/>
                    <a:pt x="539420" y="269710"/>
                  </a:cubicBezTo>
                  <a:close/>
                </a:path>
              </a:pathLst>
            </a:custGeom>
            <a:solidFill>
              <a:srgbClr val="FFFFFF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ïṣļíḋè"/>
            <p:cNvSpPr/>
            <p:nvPr userDrawn="1"/>
          </p:nvSpPr>
          <p:spPr>
            <a:xfrm>
              <a:off x="8570179" y="1838433"/>
              <a:ext cx="440343" cy="440343"/>
            </a:xfrm>
            <a:custGeom>
              <a:avLst/>
              <a:gdLst>
                <a:gd name="connsiteX0" fmla="*/ 451351 w 440343"/>
                <a:gd name="connsiteY0" fmla="*/ 225676 h 440343"/>
                <a:gd name="connsiteX1" fmla="*/ 225675 w 440343"/>
                <a:gd name="connsiteY1" fmla="*/ 451352 h 440343"/>
                <a:gd name="connsiteX2" fmla="*/ -1 w 440343"/>
                <a:gd name="connsiteY2" fmla="*/ 225676 h 440343"/>
                <a:gd name="connsiteX3" fmla="*/ 225675 w 440343"/>
                <a:gd name="connsiteY3" fmla="*/ 0 h 440343"/>
                <a:gd name="connsiteX4" fmla="*/ 451351 w 440343"/>
                <a:gd name="connsiteY4" fmla="*/ 225676 h 440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0343" h="440343">
                  <a:moveTo>
                    <a:pt x="451351" y="225676"/>
                  </a:moveTo>
                  <a:cubicBezTo>
                    <a:pt x="451351" y="350313"/>
                    <a:pt x="350313" y="451352"/>
                    <a:pt x="225675" y="451352"/>
                  </a:cubicBezTo>
                  <a:cubicBezTo>
                    <a:pt x="101038" y="451352"/>
                    <a:pt x="-1" y="350313"/>
                    <a:pt x="-1" y="225676"/>
                  </a:cubicBezTo>
                  <a:cubicBezTo>
                    <a:pt x="-1" y="101039"/>
                    <a:pt x="101038" y="0"/>
                    <a:pt x="225675" y="0"/>
                  </a:cubicBezTo>
                  <a:cubicBezTo>
                    <a:pt x="350313" y="0"/>
                    <a:pt x="451351" y="101039"/>
                    <a:pt x="451351" y="225676"/>
                  </a:cubicBezTo>
                  <a:close/>
                </a:path>
              </a:pathLst>
            </a:custGeom>
            <a:solidFill>
              <a:srgbClr val="364459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íṩļîḍê"/>
            <p:cNvSpPr/>
            <p:nvPr userDrawn="1"/>
          </p:nvSpPr>
          <p:spPr>
            <a:xfrm>
              <a:off x="8572931" y="1863202"/>
              <a:ext cx="440343" cy="412822"/>
            </a:xfrm>
            <a:custGeom>
              <a:avLst/>
              <a:gdLst>
                <a:gd name="connsiteX0" fmla="*/ 222924 w 440343"/>
                <a:gd name="connsiteY0" fmla="*/ 0 h 412821"/>
                <a:gd name="connsiteX1" fmla="*/ 0 w 440343"/>
                <a:gd name="connsiteY1" fmla="*/ 211915 h 412821"/>
                <a:gd name="connsiteX2" fmla="*/ 222924 w 440343"/>
                <a:gd name="connsiteY2" fmla="*/ 423830 h 412821"/>
                <a:gd name="connsiteX3" fmla="*/ 445848 w 440343"/>
                <a:gd name="connsiteY3" fmla="*/ 211915 h 412821"/>
                <a:gd name="connsiteX4" fmla="*/ 222924 w 440343"/>
                <a:gd name="connsiteY4" fmla="*/ 0 h 412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0343" h="412821">
                  <a:moveTo>
                    <a:pt x="222924" y="0"/>
                  </a:moveTo>
                  <a:cubicBezTo>
                    <a:pt x="101830" y="0"/>
                    <a:pt x="5505" y="93573"/>
                    <a:pt x="0" y="211915"/>
                  </a:cubicBezTo>
                  <a:cubicBezTo>
                    <a:pt x="5505" y="330257"/>
                    <a:pt x="104581" y="423830"/>
                    <a:pt x="222924" y="423830"/>
                  </a:cubicBezTo>
                  <a:cubicBezTo>
                    <a:pt x="344018" y="423830"/>
                    <a:pt x="440343" y="330257"/>
                    <a:pt x="445848" y="211915"/>
                  </a:cubicBezTo>
                  <a:cubicBezTo>
                    <a:pt x="440343" y="93573"/>
                    <a:pt x="344018" y="0"/>
                    <a:pt x="222924" y="0"/>
                  </a:cubicBezTo>
                  <a:close/>
                </a:path>
              </a:pathLst>
            </a:custGeom>
            <a:solidFill>
              <a:srgbClr val="526075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iṩḻîdè"/>
            <p:cNvSpPr/>
            <p:nvPr userDrawn="1"/>
          </p:nvSpPr>
          <p:spPr>
            <a:xfrm>
              <a:off x="8570179" y="1841185"/>
              <a:ext cx="412822" cy="330257"/>
            </a:xfrm>
            <a:custGeom>
              <a:avLst/>
              <a:gdLst>
                <a:gd name="connsiteX0" fmla="*/ 225676 w 412821"/>
                <a:gd name="connsiteY0" fmla="*/ 0 h 330257"/>
                <a:gd name="connsiteX1" fmla="*/ 0 w 412821"/>
                <a:gd name="connsiteY1" fmla="*/ 225676 h 330257"/>
                <a:gd name="connsiteX2" fmla="*/ 38530 w 412821"/>
                <a:gd name="connsiteY2" fmla="*/ 349522 h 330257"/>
                <a:gd name="connsiteX3" fmla="*/ 421079 w 412821"/>
                <a:gd name="connsiteY3" fmla="*/ 115590 h 330257"/>
                <a:gd name="connsiteX4" fmla="*/ 225676 w 412821"/>
                <a:gd name="connsiteY4" fmla="*/ 0 h 330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821" h="330257">
                  <a:moveTo>
                    <a:pt x="225676" y="0"/>
                  </a:moveTo>
                  <a:cubicBezTo>
                    <a:pt x="101830" y="0"/>
                    <a:pt x="0" y="101829"/>
                    <a:pt x="0" y="225676"/>
                  </a:cubicBezTo>
                  <a:cubicBezTo>
                    <a:pt x="0" y="272462"/>
                    <a:pt x="13761" y="313745"/>
                    <a:pt x="38530" y="349522"/>
                  </a:cubicBezTo>
                  <a:lnTo>
                    <a:pt x="421079" y="115590"/>
                  </a:lnTo>
                  <a:cubicBezTo>
                    <a:pt x="382548" y="44034"/>
                    <a:pt x="308241" y="0"/>
                    <a:pt x="225676" y="0"/>
                  </a:cubicBezTo>
                  <a:close/>
                </a:path>
              </a:pathLst>
            </a:custGeom>
            <a:solidFill>
              <a:srgbClr val="FFFFFF">
                <a:alpha val="20000"/>
              </a:srgbClr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îSlîḍé"/>
            <p:cNvSpPr/>
            <p:nvPr userDrawn="1"/>
          </p:nvSpPr>
          <p:spPr>
            <a:xfrm>
              <a:off x="8476606" y="3054881"/>
              <a:ext cx="632993" cy="27521"/>
            </a:xfrm>
            <a:custGeom>
              <a:avLst/>
              <a:gdLst>
                <a:gd name="connsiteX0" fmla="*/ 638498 w 632993"/>
                <a:gd name="connsiteY0" fmla="*/ 0 h 27521"/>
                <a:gd name="connsiteX1" fmla="*/ 0 w 632993"/>
                <a:gd name="connsiteY1" fmla="*/ 0 h 27521"/>
                <a:gd name="connsiteX2" fmla="*/ 11008 w 632993"/>
                <a:gd name="connsiteY2" fmla="*/ 27521 h 27521"/>
                <a:gd name="connsiteX3" fmla="*/ 624737 w 632993"/>
                <a:gd name="connsiteY3" fmla="*/ 27521 h 27521"/>
                <a:gd name="connsiteX4" fmla="*/ 638498 w 632993"/>
                <a:gd name="connsiteY4" fmla="*/ 0 h 27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2993" h="27521">
                  <a:moveTo>
                    <a:pt x="638498" y="0"/>
                  </a:moveTo>
                  <a:lnTo>
                    <a:pt x="0" y="0"/>
                  </a:lnTo>
                  <a:cubicBezTo>
                    <a:pt x="2752" y="8257"/>
                    <a:pt x="8256" y="19265"/>
                    <a:pt x="11008" y="27521"/>
                  </a:cubicBezTo>
                  <a:lnTo>
                    <a:pt x="624737" y="27521"/>
                  </a:lnTo>
                  <a:cubicBezTo>
                    <a:pt x="630241" y="19265"/>
                    <a:pt x="632993" y="8257"/>
                    <a:pt x="638498" y="0"/>
                  </a:cubicBezTo>
                  <a:close/>
                </a:path>
              </a:pathLst>
            </a:custGeom>
            <a:solidFill>
              <a:srgbClr val="BFC5F2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îšľîḋe"/>
            <p:cNvSpPr/>
            <p:nvPr userDrawn="1"/>
          </p:nvSpPr>
          <p:spPr>
            <a:xfrm>
              <a:off x="8416058" y="2878743"/>
              <a:ext cx="743079" cy="27521"/>
            </a:xfrm>
            <a:custGeom>
              <a:avLst/>
              <a:gdLst>
                <a:gd name="connsiteX0" fmla="*/ 0 w 743079"/>
                <a:gd name="connsiteY0" fmla="*/ 0 h 27521"/>
                <a:gd name="connsiteX1" fmla="*/ 8257 w 743079"/>
                <a:gd name="connsiteY1" fmla="*/ 27521 h 27521"/>
                <a:gd name="connsiteX2" fmla="*/ 751336 w 743079"/>
                <a:gd name="connsiteY2" fmla="*/ 27521 h 27521"/>
                <a:gd name="connsiteX3" fmla="*/ 759592 w 743079"/>
                <a:gd name="connsiteY3" fmla="*/ 0 h 27521"/>
                <a:gd name="connsiteX4" fmla="*/ 0 w 743079"/>
                <a:gd name="connsiteY4" fmla="*/ 0 h 27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3079" h="27521">
                  <a:moveTo>
                    <a:pt x="0" y="0"/>
                  </a:moveTo>
                  <a:cubicBezTo>
                    <a:pt x="2752" y="8257"/>
                    <a:pt x="5505" y="19265"/>
                    <a:pt x="8257" y="27521"/>
                  </a:cubicBezTo>
                  <a:lnTo>
                    <a:pt x="751336" y="27521"/>
                  </a:lnTo>
                  <a:cubicBezTo>
                    <a:pt x="754088" y="19265"/>
                    <a:pt x="756840" y="8257"/>
                    <a:pt x="75959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BFC5F2"/>
            </a:solidFill>
            <a:ln w="27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000"/>
                            </p:stCondLst>
                            <p:childTnLst>
                              <p:par>
                                <p:cTn id="2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500"/>
                            </p:stCondLst>
                            <p:childTnLst>
                              <p:par>
                                <p:cTn id="4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46" grpId="0" animBg="1"/>
      <p:bldP spid="68" grpId="0" animBg="1"/>
      <p:bldP spid="69" grpId="0" animBg="1"/>
      <p:bldP spid="70" grpId="0" animBg="1"/>
      <p:bldP spid="71" grpId="0" animBg="1"/>
      <p:bldP spid="72" grpId="0" bldLvl="0" animBg="1"/>
      <p:bldP spid="73" grpId="0" animBg="1"/>
      <p:bldP spid="74" grpId="0" bldLvl="0" animBg="1"/>
      <p:bldP spid="75" grpId="0" animBg="1"/>
      <p:bldP spid="76" grpId="0" bldLvl="0" animBg="1"/>
      <p:bldP spid="77" grpId="0" animBg="1"/>
      <p:bldP spid="78" grpId="0" bldLvl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7853ad09-5941-4995-b662-b2377a8b6e64" descr="yRcAAB+LCAAAAAAABADNV01v4jAQ/S/e7g2h2EnshBs0pdpDt5Va7WXVQ5a44FVIkBOkVlX/+zohLGPyoZivFiSEJzPJ85v3zPCOrkSERgijAbrK31ZcfX9chjIPRDiX4fIujXisrj3IdMVlLniGRr/fqyICin6F8ZpXWW8qficSsVwvyzAaWUNLhcJXEMJWGQz4TCzDOBBzkat7q8iP7IHLGU/yKjGXaz5A1cL1hxS7tudsPl3mDdCtTNercg8fgy00G0C7TuNUAmjVrbapDki9f3kRM/604EteVqlLTyLJx0n0uAij7UYmUswXecKzrArc//nLZzkoG7mqsLxlmb7OFurm36bq5fuWpXA2gnb7g6ZHgvaMQN/cBLQNNIPKyaVI5nXUyPqOmqs9UD1J05iHSb18o4Cmcv/yCnT8oQ9fHt1BIwAatvp3E+NzaJA2t5PcTILpFLZTg00MYNvnUGEL7IBOSQdsx1iGWrlrrkOtnn7+Uei5O2w2xMYMOuqdQ4is7Vy5HuuHoQbb7w+bWOcQYivsKdWPQwibYGMhauXEXIhavf0JJ6I3tBj1iV19gp9kB0JzDBrqnkOHXltD3Yk7hg3VYFMD2OwcOmyFHezpUIPtGetQK/fNdajqnxVCkUTqYXBOtKE9b2UYCaWkKq+cLZXa5JvObcGp5C+VvNEjn6VJ1JHlFlkNcVLGQzXK8pzLrLyyhwRc3TKNpiIuxt5xMo/VkrCyV6pvK/5T5Rab23BQhjB6/qiPyLvna1vREJ807RmMv/AUeuKvgO09LeyYYuYMlrvPNP4aOCqe35ui/QXcVG00gRpq1k0z7o2IGtpeQC3aPivOOmXgjOeV7bYu/R8sBAH9rF04gAW7tbW2zoJ9jJmw1ctNmLSIwb+AnUgHSz4kptyMjvnkiZB5x9xU2DEnsr+rejO1v4C7qv3r7HTVRkBfy1ZdNOx1tLaCTNCjnMX6OctvEQSmF7CW3cUU1bhh2kp3yckyIfvM3F0EH0Bmf3sZsFVbwZ15Zg5jX89hnUywjh4znQn/GIcRp5fDCG0bZDomgpM5zOkadLSfdeJoK01Bp8sE7DvWAQ7zDiCzv8MM2Kqt4M6wkcM2QvpaDutkwunocfGvS73/AbWcN4zJFwAA"/>
          <p:cNvGrpSpPr>
            <a:grpSpLocks noChangeAspect="1"/>
          </p:cNvGrpSpPr>
          <p:nvPr/>
        </p:nvGrpSpPr>
        <p:grpSpPr>
          <a:xfrm>
            <a:off x="3474549" y="1481840"/>
            <a:ext cx="5242902" cy="3894320"/>
            <a:chOff x="3474549" y="1481840"/>
            <a:chExt cx="5242902" cy="3894320"/>
          </a:xfrm>
        </p:grpSpPr>
        <p:sp>
          <p:nvSpPr>
            <p:cNvPr id="3" name="ExtraShape1"/>
            <p:cNvSpPr/>
            <p:nvPr/>
          </p:nvSpPr>
          <p:spPr bwMode="auto">
            <a:xfrm>
              <a:off x="4534619" y="1512431"/>
              <a:ext cx="1417397" cy="1558302"/>
            </a:xfrm>
            <a:custGeom>
              <a:avLst/>
              <a:gdLst>
                <a:gd name="T0" fmla="*/ 636 w 736"/>
                <a:gd name="T1" fmla="*/ 580 h 810"/>
                <a:gd name="T2" fmla="*/ 714 w 736"/>
                <a:gd name="T3" fmla="*/ 357 h 810"/>
                <a:gd name="T4" fmla="*/ 357 w 736"/>
                <a:gd name="T5" fmla="*/ 0 h 810"/>
                <a:gd name="T6" fmla="*/ 229 w 736"/>
                <a:gd name="T7" fmla="*/ 0 h 810"/>
                <a:gd name="T8" fmla="*/ 229 w 736"/>
                <a:gd name="T9" fmla="*/ 24 h 810"/>
                <a:gd name="T10" fmla="*/ 0 w 736"/>
                <a:gd name="T11" fmla="*/ 357 h 810"/>
                <a:gd name="T12" fmla="*/ 229 w 736"/>
                <a:gd name="T13" fmla="*/ 690 h 810"/>
                <a:gd name="T14" fmla="*/ 229 w 736"/>
                <a:gd name="T15" fmla="*/ 714 h 810"/>
                <a:gd name="T16" fmla="*/ 357 w 736"/>
                <a:gd name="T17" fmla="*/ 714 h 810"/>
                <a:gd name="T18" fmla="*/ 490 w 736"/>
                <a:gd name="T19" fmla="*/ 688 h 810"/>
                <a:gd name="T20" fmla="*/ 608 w 736"/>
                <a:gd name="T21" fmla="*/ 810 h 810"/>
                <a:gd name="T22" fmla="*/ 736 w 736"/>
                <a:gd name="T23" fmla="*/ 810 h 810"/>
                <a:gd name="T24" fmla="*/ 636 w 736"/>
                <a:gd name="T25" fmla="*/ 58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6" h="810">
                  <a:moveTo>
                    <a:pt x="636" y="580"/>
                  </a:moveTo>
                  <a:cubicBezTo>
                    <a:pt x="684" y="519"/>
                    <a:pt x="714" y="442"/>
                    <a:pt x="714" y="357"/>
                  </a:cubicBezTo>
                  <a:cubicBezTo>
                    <a:pt x="714" y="160"/>
                    <a:pt x="554" y="0"/>
                    <a:pt x="357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29" y="24"/>
                    <a:pt x="229" y="24"/>
                    <a:pt x="229" y="24"/>
                  </a:cubicBezTo>
                  <a:cubicBezTo>
                    <a:pt x="95" y="76"/>
                    <a:pt x="0" y="205"/>
                    <a:pt x="0" y="357"/>
                  </a:cubicBezTo>
                  <a:cubicBezTo>
                    <a:pt x="0" y="509"/>
                    <a:pt x="95" y="639"/>
                    <a:pt x="229" y="690"/>
                  </a:cubicBezTo>
                  <a:cubicBezTo>
                    <a:pt x="229" y="714"/>
                    <a:pt x="229" y="714"/>
                    <a:pt x="229" y="714"/>
                  </a:cubicBezTo>
                  <a:cubicBezTo>
                    <a:pt x="357" y="714"/>
                    <a:pt x="357" y="714"/>
                    <a:pt x="357" y="714"/>
                  </a:cubicBezTo>
                  <a:cubicBezTo>
                    <a:pt x="404" y="714"/>
                    <a:pt x="449" y="705"/>
                    <a:pt x="490" y="688"/>
                  </a:cubicBezTo>
                  <a:cubicBezTo>
                    <a:pt x="608" y="810"/>
                    <a:pt x="608" y="810"/>
                    <a:pt x="608" y="810"/>
                  </a:cubicBezTo>
                  <a:cubicBezTo>
                    <a:pt x="736" y="810"/>
                    <a:pt x="736" y="810"/>
                    <a:pt x="736" y="810"/>
                  </a:cubicBezTo>
                  <a:lnTo>
                    <a:pt x="636" y="580"/>
                  </a:ln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" name="ExtraShape1"/>
            <p:cNvSpPr/>
            <p:nvPr/>
          </p:nvSpPr>
          <p:spPr bwMode="auto">
            <a:xfrm>
              <a:off x="4504027" y="1481840"/>
              <a:ext cx="1479505" cy="1619483"/>
            </a:xfrm>
            <a:custGeom>
              <a:avLst/>
              <a:gdLst>
                <a:gd name="T0" fmla="*/ 752 w 768"/>
                <a:gd name="T1" fmla="*/ 842 h 842"/>
                <a:gd name="T2" fmla="*/ 624 w 768"/>
                <a:gd name="T3" fmla="*/ 842 h 842"/>
                <a:gd name="T4" fmla="*/ 612 w 768"/>
                <a:gd name="T5" fmla="*/ 837 h 842"/>
                <a:gd name="T6" fmla="*/ 502 w 768"/>
                <a:gd name="T7" fmla="*/ 723 h 842"/>
                <a:gd name="T8" fmla="*/ 373 w 768"/>
                <a:gd name="T9" fmla="*/ 746 h 842"/>
                <a:gd name="T10" fmla="*/ 245 w 768"/>
                <a:gd name="T11" fmla="*/ 746 h 842"/>
                <a:gd name="T12" fmla="*/ 229 w 768"/>
                <a:gd name="T13" fmla="*/ 730 h 842"/>
                <a:gd name="T14" fmla="*/ 229 w 768"/>
                <a:gd name="T15" fmla="*/ 717 h 842"/>
                <a:gd name="T16" fmla="*/ 0 w 768"/>
                <a:gd name="T17" fmla="*/ 373 h 842"/>
                <a:gd name="T18" fmla="*/ 229 w 768"/>
                <a:gd name="T19" fmla="*/ 29 h 842"/>
                <a:gd name="T20" fmla="*/ 229 w 768"/>
                <a:gd name="T21" fmla="*/ 16 h 842"/>
                <a:gd name="T22" fmla="*/ 245 w 768"/>
                <a:gd name="T23" fmla="*/ 0 h 842"/>
                <a:gd name="T24" fmla="*/ 373 w 768"/>
                <a:gd name="T25" fmla="*/ 0 h 842"/>
                <a:gd name="T26" fmla="*/ 746 w 768"/>
                <a:gd name="T27" fmla="*/ 373 h 842"/>
                <a:gd name="T28" fmla="*/ 670 w 768"/>
                <a:gd name="T29" fmla="*/ 598 h 842"/>
                <a:gd name="T30" fmla="*/ 766 w 768"/>
                <a:gd name="T31" fmla="*/ 819 h 842"/>
                <a:gd name="T32" fmla="*/ 765 w 768"/>
                <a:gd name="T33" fmla="*/ 835 h 842"/>
                <a:gd name="T34" fmla="*/ 752 w 768"/>
                <a:gd name="T35" fmla="*/ 842 h 842"/>
                <a:gd name="T36" fmla="*/ 630 w 768"/>
                <a:gd name="T37" fmla="*/ 810 h 842"/>
                <a:gd name="T38" fmla="*/ 727 w 768"/>
                <a:gd name="T39" fmla="*/ 810 h 842"/>
                <a:gd name="T40" fmla="*/ 637 w 768"/>
                <a:gd name="T41" fmla="*/ 602 h 842"/>
                <a:gd name="T42" fmla="*/ 639 w 768"/>
                <a:gd name="T43" fmla="*/ 586 h 842"/>
                <a:gd name="T44" fmla="*/ 714 w 768"/>
                <a:gd name="T45" fmla="*/ 373 h 842"/>
                <a:gd name="T46" fmla="*/ 373 w 768"/>
                <a:gd name="T47" fmla="*/ 32 h 842"/>
                <a:gd name="T48" fmla="*/ 261 w 768"/>
                <a:gd name="T49" fmla="*/ 32 h 842"/>
                <a:gd name="T50" fmla="*/ 261 w 768"/>
                <a:gd name="T51" fmla="*/ 40 h 842"/>
                <a:gd name="T52" fmla="*/ 250 w 768"/>
                <a:gd name="T53" fmla="*/ 55 h 842"/>
                <a:gd name="T54" fmla="*/ 32 w 768"/>
                <a:gd name="T55" fmla="*/ 373 h 842"/>
                <a:gd name="T56" fmla="*/ 250 w 768"/>
                <a:gd name="T57" fmla="*/ 691 h 842"/>
                <a:gd name="T58" fmla="*/ 261 w 768"/>
                <a:gd name="T59" fmla="*/ 706 h 842"/>
                <a:gd name="T60" fmla="*/ 261 w 768"/>
                <a:gd name="T61" fmla="*/ 714 h 842"/>
                <a:gd name="T62" fmla="*/ 373 w 768"/>
                <a:gd name="T63" fmla="*/ 714 h 842"/>
                <a:gd name="T64" fmla="*/ 500 w 768"/>
                <a:gd name="T65" fmla="*/ 690 h 842"/>
                <a:gd name="T66" fmla="*/ 517 w 768"/>
                <a:gd name="T67" fmla="*/ 693 h 842"/>
                <a:gd name="T68" fmla="*/ 630 w 768"/>
                <a:gd name="T69" fmla="*/ 810 h 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68" h="842">
                  <a:moveTo>
                    <a:pt x="752" y="842"/>
                  </a:moveTo>
                  <a:cubicBezTo>
                    <a:pt x="624" y="842"/>
                    <a:pt x="624" y="842"/>
                    <a:pt x="624" y="842"/>
                  </a:cubicBezTo>
                  <a:cubicBezTo>
                    <a:pt x="619" y="842"/>
                    <a:pt x="615" y="840"/>
                    <a:pt x="612" y="837"/>
                  </a:cubicBezTo>
                  <a:cubicBezTo>
                    <a:pt x="502" y="723"/>
                    <a:pt x="502" y="723"/>
                    <a:pt x="502" y="723"/>
                  </a:cubicBezTo>
                  <a:cubicBezTo>
                    <a:pt x="460" y="739"/>
                    <a:pt x="417" y="746"/>
                    <a:pt x="373" y="746"/>
                  </a:cubicBezTo>
                  <a:cubicBezTo>
                    <a:pt x="245" y="746"/>
                    <a:pt x="245" y="746"/>
                    <a:pt x="245" y="746"/>
                  </a:cubicBezTo>
                  <a:cubicBezTo>
                    <a:pt x="236" y="746"/>
                    <a:pt x="229" y="739"/>
                    <a:pt x="229" y="730"/>
                  </a:cubicBezTo>
                  <a:cubicBezTo>
                    <a:pt x="229" y="717"/>
                    <a:pt x="229" y="717"/>
                    <a:pt x="229" y="717"/>
                  </a:cubicBezTo>
                  <a:cubicBezTo>
                    <a:pt x="91" y="659"/>
                    <a:pt x="0" y="523"/>
                    <a:pt x="0" y="373"/>
                  </a:cubicBezTo>
                  <a:cubicBezTo>
                    <a:pt x="0" y="224"/>
                    <a:pt x="91" y="87"/>
                    <a:pt x="229" y="29"/>
                  </a:cubicBezTo>
                  <a:cubicBezTo>
                    <a:pt x="229" y="16"/>
                    <a:pt x="229" y="16"/>
                    <a:pt x="229" y="16"/>
                  </a:cubicBezTo>
                  <a:cubicBezTo>
                    <a:pt x="229" y="7"/>
                    <a:pt x="236" y="0"/>
                    <a:pt x="245" y="0"/>
                  </a:cubicBezTo>
                  <a:cubicBezTo>
                    <a:pt x="373" y="0"/>
                    <a:pt x="373" y="0"/>
                    <a:pt x="373" y="0"/>
                  </a:cubicBezTo>
                  <a:cubicBezTo>
                    <a:pt x="578" y="0"/>
                    <a:pt x="746" y="168"/>
                    <a:pt x="746" y="373"/>
                  </a:cubicBezTo>
                  <a:cubicBezTo>
                    <a:pt x="746" y="455"/>
                    <a:pt x="720" y="533"/>
                    <a:pt x="670" y="598"/>
                  </a:cubicBezTo>
                  <a:cubicBezTo>
                    <a:pt x="766" y="819"/>
                    <a:pt x="766" y="819"/>
                    <a:pt x="766" y="819"/>
                  </a:cubicBezTo>
                  <a:cubicBezTo>
                    <a:pt x="768" y="824"/>
                    <a:pt x="768" y="830"/>
                    <a:pt x="765" y="835"/>
                  </a:cubicBezTo>
                  <a:cubicBezTo>
                    <a:pt x="762" y="839"/>
                    <a:pt x="757" y="842"/>
                    <a:pt x="752" y="842"/>
                  </a:cubicBezTo>
                  <a:close/>
                  <a:moveTo>
                    <a:pt x="630" y="810"/>
                  </a:moveTo>
                  <a:cubicBezTo>
                    <a:pt x="727" y="810"/>
                    <a:pt x="727" y="810"/>
                    <a:pt x="727" y="810"/>
                  </a:cubicBezTo>
                  <a:cubicBezTo>
                    <a:pt x="637" y="602"/>
                    <a:pt x="637" y="602"/>
                    <a:pt x="637" y="602"/>
                  </a:cubicBezTo>
                  <a:cubicBezTo>
                    <a:pt x="635" y="597"/>
                    <a:pt x="635" y="591"/>
                    <a:pt x="639" y="586"/>
                  </a:cubicBezTo>
                  <a:cubicBezTo>
                    <a:pt x="688" y="525"/>
                    <a:pt x="714" y="451"/>
                    <a:pt x="714" y="373"/>
                  </a:cubicBezTo>
                  <a:cubicBezTo>
                    <a:pt x="714" y="185"/>
                    <a:pt x="561" y="32"/>
                    <a:pt x="373" y="32"/>
                  </a:cubicBezTo>
                  <a:cubicBezTo>
                    <a:pt x="261" y="32"/>
                    <a:pt x="261" y="32"/>
                    <a:pt x="261" y="32"/>
                  </a:cubicBezTo>
                  <a:cubicBezTo>
                    <a:pt x="261" y="40"/>
                    <a:pt x="261" y="40"/>
                    <a:pt x="261" y="40"/>
                  </a:cubicBezTo>
                  <a:cubicBezTo>
                    <a:pt x="261" y="47"/>
                    <a:pt x="257" y="53"/>
                    <a:pt x="250" y="55"/>
                  </a:cubicBezTo>
                  <a:cubicBezTo>
                    <a:pt x="120" y="106"/>
                    <a:pt x="32" y="233"/>
                    <a:pt x="32" y="373"/>
                  </a:cubicBezTo>
                  <a:cubicBezTo>
                    <a:pt x="32" y="513"/>
                    <a:pt x="120" y="641"/>
                    <a:pt x="250" y="691"/>
                  </a:cubicBezTo>
                  <a:cubicBezTo>
                    <a:pt x="257" y="694"/>
                    <a:pt x="261" y="700"/>
                    <a:pt x="261" y="706"/>
                  </a:cubicBezTo>
                  <a:cubicBezTo>
                    <a:pt x="261" y="714"/>
                    <a:pt x="261" y="714"/>
                    <a:pt x="261" y="714"/>
                  </a:cubicBezTo>
                  <a:cubicBezTo>
                    <a:pt x="373" y="714"/>
                    <a:pt x="373" y="714"/>
                    <a:pt x="373" y="714"/>
                  </a:cubicBezTo>
                  <a:cubicBezTo>
                    <a:pt x="416" y="714"/>
                    <a:pt x="459" y="706"/>
                    <a:pt x="500" y="690"/>
                  </a:cubicBezTo>
                  <a:cubicBezTo>
                    <a:pt x="506" y="687"/>
                    <a:pt x="513" y="689"/>
                    <a:pt x="517" y="693"/>
                  </a:cubicBezTo>
                  <a:lnTo>
                    <a:pt x="630" y="81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" name="ExtraShape2"/>
            <p:cNvSpPr/>
            <p:nvPr/>
          </p:nvSpPr>
          <p:spPr bwMode="auto">
            <a:xfrm>
              <a:off x="6175424" y="1512431"/>
              <a:ext cx="1664906" cy="1558302"/>
            </a:xfrm>
            <a:custGeom>
              <a:avLst/>
              <a:gdLst>
                <a:gd name="T0" fmla="*/ 507 w 864"/>
                <a:gd name="T1" fmla="*/ 0 h 810"/>
                <a:gd name="T2" fmla="*/ 379 w 864"/>
                <a:gd name="T3" fmla="*/ 0 h 810"/>
                <a:gd name="T4" fmla="*/ 379 w 864"/>
                <a:gd name="T5" fmla="*/ 24 h 810"/>
                <a:gd name="T6" fmla="*/ 150 w 864"/>
                <a:gd name="T7" fmla="*/ 357 h 810"/>
                <a:gd name="T8" fmla="*/ 228 w 864"/>
                <a:gd name="T9" fmla="*/ 580 h 810"/>
                <a:gd name="T10" fmla="*/ 0 w 864"/>
                <a:gd name="T11" fmla="*/ 810 h 810"/>
                <a:gd name="T12" fmla="*/ 128 w 864"/>
                <a:gd name="T13" fmla="*/ 810 h 810"/>
                <a:gd name="T14" fmla="*/ 374 w 864"/>
                <a:gd name="T15" fmla="*/ 688 h 810"/>
                <a:gd name="T16" fmla="*/ 379 w 864"/>
                <a:gd name="T17" fmla="*/ 690 h 810"/>
                <a:gd name="T18" fmla="*/ 379 w 864"/>
                <a:gd name="T19" fmla="*/ 714 h 810"/>
                <a:gd name="T20" fmla="*/ 507 w 864"/>
                <a:gd name="T21" fmla="*/ 714 h 810"/>
                <a:gd name="T22" fmla="*/ 864 w 864"/>
                <a:gd name="T23" fmla="*/ 357 h 810"/>
                <a:gd name="T24" fmla="*/ 507 w 864"/>
                <a:gd name="T25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64" h="810">
                  <a:moveTo>
                    <a:pt x="507" y="0"/>
                  </a:moveTo>
                  <a:cubicBezTo>
                    <a:pt x="379" y="0"/>
                    <a:pt x="379" y="0"/>
                    <a:pt x="379" y="0"/>
                  </a:cubicBezTo>
                  <a:cubicBezTo>
                    <a:pt x="379" y="24"/>
                    <a:pt x="379" y="24"/>
                    <a:pt x="379" y="24"/>
                  </a:cubicBezTo>
                  <a:cubicBezTo>
                    <a:pt x="245" y="76"/>
                    <a:pt x="150" y="205"/>
                    <a:pt x="150" y="357"/>
                  </a:cubicBezTo>
                  <a:cubicBezTo>
                    <a:pt x="150" y="442"/>
                    <a:pt x="180" y="519"/>
                    <a:pt x="228" y="580"/>
                  </a:cubicBezTo>
                  <a:cubicBezTo>
                    <a:pt x="0" y="810"/>
                    <a:pt x="0" y="810"/>
                    <a:pt x="0" y="810"/>
                  </a:cubicBezTo>
                  <a:cubicBezTo>
                    <a:pt x="128" y="810"/>
                    <a:pt x="128" y="810"/>
                    <a:pt x="128" y="810"/>
                  </a:cubicBezTo>
                  <a:cubicBezTo>
                    <a:pt x="374" y="688"/>
                    <a:pt x="374" y="688"/>
                    <a:pt x="374" y="688"/>
                  </a:cubicBezTo>
                  <a:cubicBezTo>
                    <a:pt x="376" y="689"/>
                    <a:pt x="378" y="690"/>
                    <a:pt x="379" y="690"/>
                  </a:cubicBezTo>
                  <a:cubicBezTo>
                    <a:pt x="379" y="714"/>
                    <a:pt x="379" y="714"/>
                    <a:pt x="379" y="714"/>
                  </a:cubicBezTo>
                  <a:cubicBezTo>
                    <a:pt x="507" y="714"/>
                    <a:pt x="507" y="714"/>
                    <a:pt x="507" y="714"/>
                  </a:cubicBezTo>
                  <a:cubicBezTo>
                    <a:pt x="704" y="714"/>
                    <a:pt x="864" y="554"/>
                    <a:pt x="864" y="357"/>
                  </a:cubicBezTo>
                  <a:cubicBezTo>
                    <a:pt x="864" y="160"/>
                    <a:pt x="704" y="0"/>
                    <a:pt x="507" y="0"/>
                  </a:cubicBez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" name="ExtraShape3"/>
            <p:cNvSpPr/>
            <p:nvPr/>
          </p:nvSpPr>
          <p:spPr bwMode="auto">
            <a:xfrm>
              <a:off x="6142978" y="1481840"/>
              <a:ext cx="1727943" cy="1619483"/>
            </a:xfrm>
            <a:custGeom>
              <a:avLst/>
              <a:gdLst>
                <a:gd name="T0" fmla="*/ 145 w 897"/>
                <a:gd name="T1" fmla="*/ 842 h 842"/>
                <a:gd name="T2" fmla="*/ 17 w 897"/>
                <a:gd name="T3" fmla="*/ 842 h 842"/>
                <a:gd name="T4" fmla="*/ 3 w 897"/>
                <a:gd name="T5" fmla="*/ 832 h 842"/>
                <a:gd name="T6" fmla="*/ 6 w 897"/>
                <a:gd name="T7" fmla="*/ 815 h 842"/>
                <a:gd name="T8" fmla="*/ 224 w 897"/>
                <a:gd name="T9" fmla="*/ 595 h 842"/>
                <a:gd name="T10" fmla="*/ 151 w 897"/>
                <a:gd name="T11" fmla="*/ 373 h 842"/>
                <a:gd name="T12" fmla="*/ 380 w 897"/>
                <a:gd name="T13" fmla="*/ 29 h 842"/>
                <a:gd name="T14" fmla="*/ 380 w 897"/>
                <a:gd name="T15" fmla="*/ 16 h 842"/>
                <a:gd name="T16" fmla="*/ 396 w 897"/>
                <a:gd name="T17" fmla="*/ 0 h 842"/>
                <a:gd name="T18" fmla="*/ 524 w 897"/>
                <a:gd name="T19" fmla="*/ 0 h 842"/>
                <a:gd name="T20" fmla="*/ 897 w 897"/>
                <a:gd name="T21" fmla="*/ 373 h 842"/>
                <a:gd name="T22" fmla="*/ 524 w 897"/>
                <a:gd name="T23" fmla="*/ 746 h 842"/>
                <a:gd name="T24" fmla="*/ 396 w 897"/>
                <a:gd name="T25" fmla="*/ 746 h 842"/>
                <a:gd name="T26" fmla="*/ 380 w 897"/>
                <a:gd name="T27" fmla="*/ 730 h 842"/>
                <a:gd name="T28" fmla="*/ 380 w 897"/>
                <a:gd name="T29" fmla="*/ 728 h 842"/>
                <a:gd name="T30" fmla="*/ 152 w 897"/>
                <a:gd name="T31" fmla="*/ 840 h 842"/>
                <a:gd name="T32" fmla="*/ 145 w 897"/>
                <a:gd name="T33" fmla="*/ 842 h 842"/>
                <a:gd name="T34" fmla="*/ 56 w 897"/>
                <a:gd name="T35" fmla="*/ 810 h 842"/>
                <a:gd name="T36" fmla="*/ 142 w 897"/>
                <a:gd name="T37" fmla="*/ 810 h 842"/>
                <a:gd name="T38" fmla="*/ 384 w 897"/>
                <a:gd name="T39" fmla="*/ 690 h 842"/>
                <a:gd name="T40" fmla="*/ 397 w 897"/>
                <a:gd name="T41" fmla="*/ 690 h 842"/>
                <a:gd name="T42" fmla="*/ 402 w 897"/>
                <a:gd name="T43" fmla="*/ 691 h 842"/>
                <a:gd name="T44" fmla="*/ 412 w 897"/>
                <a:gd name="T45" fmla="*/ 706 h 842"/>
                <a:gd name="T46" fmla="*/ 412 w 897"/>
                <a:gd name="T47" fmla="*/ 714 h 842"/>
                <a:gd name="T48" fmla="*/ 524 w 897"/>
                <a:gd name="T49" fmla="*/ 714 h 842"/>
                <a:gd name="T50" fmla="*/ 865 w 897"/>
                <a:gd name="T51" fmla="*/ 373 h 842"/>
                <a:gd name="T52" fmla="*/ 524 w 897"/>
                <a:gd name="T53" fmla="*/ 32 h 842"/>
                <a:gd name="T54" fmla="*/ 412 w 897"/>
                <a:gd name="T55" fmla="*/ 32 h 842"/>
                <a:gd name="T56" fmla="*/ 412 w 897"/>
                <a:gd name="T57" fmla="*/ 40 h 842"/>
                <a:gd name="T58" fmla="*/ 402 w 897"/>
                <a:gd name="T59" fmla="*/ 55 h 842"/>
                <a:gd name="T60" fmla="*/ 183 w 897"/>
                <a:gd name="T61" fmla="*/ 373 h 842"/>
                <a:gd name="T62" fmla="*/ 258 w 897"/>
                <a:gd name="T63" fmla="*/ 586 h 842"/>
                <a:gd name="T64" fmla="*/ 257 w 897"/>
                <a:gd name="T65" fmla="*/ 607 h 842"/>
                <a:gd name="T66" fmla="*/ 56 w 897"/>
                <a:gd name="T67" fmla="*/ 810 h 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7" h="842">
                  <a:moveTo>
                    <a:pt x="145" y="842"/>
                  </a:moveTo>
                  <a:cubicBezTo>
                    <a:pt x="17" y="842"/>
                    <a:pt x="17" y="842"/>
                    <a:pt x="17" y="842"/>
                  </a:cubicBezTo>
                  <a:cubicBezTo>
                    <a:pt x="11" y="842"/>
                    <a:pt x="5" y="838"/>
                    <a:pt x="3" y="832"/>
                  </a:cubicBezTo>
                  <a:cubicBezTo>
                    <a:pt x="0" y="826"/>
                    <a:pt x="1" y="819"/>
                    <a:pt x="6" y="815"/>
                  </a:cubicBezTo>
                  <a:cubicBezTo>
                    <a:pt x="224" y="595"/>
                    <a:pt x="224" y="595"/>
                    <a:pt x="224" y="595"/>
                  </a:cubicBezTo>
                  <a:cubicBezTo>
                    <a:pt x="176" y="530"/>
                    <a:pt x="151" y="454"/>
                    <a:pt x="151" y="373"/>
                  </a:cubicBezTo>
                  <a:cubicBezTo>
                    <a:pt x="151" y="224"/>
                    <a:pt x="243" y="87"/>
                    <a:pt x="380" y="29"/>
                  </a:cubicBezTo>
                  <a:cubicBezTo>
                    <a:pt x="380" y="16"/>
                    <a:pt x="380" y="16"/>
                    <a:pt x="380" y="16"/>
                  </a:cubicBezTo>
                  <a:cubicBezTo>
                    <a:pt x="380" y="7"/>
                    <a:pt x="387" y="0"/>
                    <a:pt x="396" y="0"/>
                  </a:cubicBezTo>
                  <a:cubicBezTo>
                    <a:pt x="524" y="0"/>
                    <a:pt x="524" y="0"/>
                    <a:pt x="524" y="0"/>
                  </a:cubicBezTo>
                  <a:cubicBezTo>
                    <a:pt x="730" y="0"/>
                    <a:pt x="897" y="168"/>
                    <a:pt x="897" y="373"/>
                  </a:cubicBezTo>
                  <a:cubicBezTo>
                    <a:pt x="897" y="579"/>
                    <a:pt x="730" y="746"/>
                    <a:pt x="524" y="746"/>
                  </a:cubicBezTo>
                  <a:cubicBezTo>
                    <a:pt x="396" y="746"/>
                    <a:pt x="396" y="746"/>
                    <a:pt x="396" y="746"/>
                  </a:cubicBezTo>
                  <a:cubicBezTo>
                    <a:pt x="387" y="746"/>
                    <a:pt x="380" y="739"/>
                    <a:pt x="380" y="730"/>
                  </a:cubicBezTo>
                  <a:cubicBezTo>
                    <a:pt x="380" y="728"/>
                    <a:pt x="380" y="728"/>
                    <a:pt x="380" y="728"/>
                  </a:cubicBezTo>
                  <a:cubicBezTo>
                    <a:pt x="152" y="840"/>
                    <a:pt x="152" y="840"/>
                    <a:pt x="152" y="840"/>
                  </a:cubicBezTo>
                  <a:cubicBezTo>
                    <a:pt x="150" y="841"/>
                    <a:pt x="148" y="842"/>
                    <a:pt x="145" y="842"/>
                  </a:cubicBezTo>
                  <a:close/>
                  <a:moveTo>
                    <a:pt x="56" y="810"/>
                  </a:moveTo>
                  <a:cubicBezTo>
                    <a:pt x="142" y="810"/>
                    <a:pt x="142" y="810"/>
                    <a:pt x="142" y="810"/>
                  </a:cubicBezTo>
                  <a:cubicBezTo>
                    <a:pt x="384" y="690"/>
                    <a:pt x="384" y="690"/>
                    <a:pt x="384" y="690"/>
                  </a:cubicBezTo>
                  <a:cubicBezTo>
                    <a:pt x="388" y="688"/>
                    <a:pt x="393" y="688"/>
                    <a:pt x="397" y="690"/>
                  </a:cubicBezTo>
                  <a:cubicBezTo>
                    <a:pt x="402" y="691"/>
                    <a:pt x="402" y="691"/>
                    <a:pt x="402" y="691"/>
                  </a:cubicBezTo>
                  <a:cubicBezTo>
                    <a:pt x="408" y="694"/>
                    <a:pt x="412" y="700"/>
                    <a:pt x="412" y="706"/>
                  </a:cubicBezTo>
                  <a:cubicBezTo>
                    <a:pt x="412" y="714"/>
                    <a:pt x="412" y="714"/>
                    <a:pt x="412" y="714"/>
                  </a:cubicBezTo>
                  <a:cubicBezTo>
                    <a:pt x="524" y="714"/>
                    <a:pt x="524" y="714"/>
                    <a:pt x="524" y="714"/>
                  </a:cubicBezTo>
                  <a:cubicBezTo>
                    <a:pt x="712" y="714"/>
                    <a:pt x="865" y="561"/>
                    <a:pt x="865" y="373"/>
                  </a:cubicBezTo>
                  <a:cubicBezTo>
                    <a:pt x="865" y="185"/>
                    <a:pt x="712" y="32"/>
                    <a:pt x="524" y="32"/>
                  </a:cubicBezTo>
                  <a:cubicBezTo>
                    <a:pt x="412" y="32"/>
                    <a:pt x="412" y="32"/>
                    <a:pt x="412" y="32"/>
                  </a:cubicBezTo>
                  <a:cubicBezTo>
                    <a:pt x="412" y="40"/>
                    <a:pt x="412" y="40"/>
                    <a:pt x="412" y="40"/>
                  </a:cubicBezTo>
                  <a:cubicBezTo>
                    <a:pt x="412" y="47"/>
                    <a:pt x="408" y="53"/>
                    <a:pt x="402" y="55"/>
                  </a:cubicBezTo>
                  <a:cubicBezTo>
                    <a:pt x="271" y="106"/>
                    <a:pt x="183" y="233"/>
                    <a:pt x="183" y="373"/>
                  </a:cubicBezTo>
                  <a:cubicBezTo>
                    <a:pt x="183" y="451"/>
                    <a:pt x="209" y="525"/>
                    <a:pt x="258" y="586"/>
                  </a:cubicBezTo>
                  <a:cubicBezTo>
                    <a:pt x="263" y="592"/>
                    <a:pt x="262" y="601"/>
                    <a:pt x="257" y="607"/>
                  </a:cubicBezTo>
                  <a:lnTo>
                    <a:pt x="56" y="81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" name="CustomText1"/>
            <p:cNvSpPr txBox="1"/>
            <p:nvPr/>
          </p:nvSpPr>
          <p:spPr>
            <a:xfrm>
              <a:off x="5208943" y="3129321"/>
              <a:ext cx="1763444" cy="384390"/>
            </a:xfrm>
            <a:prstGeom prst="rect">
              <a:avLst/>
            </a:prstGeom>
            <a:noFill/>
          </p:spPr>
          <p:txBody>
            <a:bodyPr wrap="square" rtlCol="0">
              <a:normAutofit fontScale="77500" lnSpcReduction="20000"/>
            </a:bodyPr>
            <a:lstStyle/>
            <a:p>
              <a:pPr algn="ctr"/>
              <a:r>
                <a:rPr lang="en-US" altLang="zh-CN" sz="2800" b="1" dirty="0">
                  <a:solidFill>
                    <a:schemeClr val="tx2"/>
                  </a:solidFill>
                </a:rPr>
                <a:t>TEXT HERE</a:t>
              </a:r>
              <a:endParaRPr lang="en-US" altLang="zh-CN" sz="2800" b="1" dirty="0">
                <a:solidFill>
                  <a:schemeClr val="tx2"/>
                </a:solidFill>
              </a:endParaRPr>
            </a:p>
          </p:txBody>
        </p:sp>
        <p:sp>
          <p:nvSpPr>
            <p:cNvPr id="8" name="CustomText2"/>
            <p:cNvSpPr/>
            <p:nvPr/>
          </p:nvSpPr>
          <p:spPr>
            <a:xfrm>
              <a:off x="5208943" y="3451971"/>
              <a:ext cx="1763444" cy="271335"/>
            </a:xfrm>
            <a:prstGeom prst="rect">
              <a:avLst/>
            </a:prstGeom>
          </p:spPr>
          <p:txBody>
            <a:bodyPr wrap="square">
              <a:normAutofit fontScale="70000" lnSpcReduction="20000"/>
            </a:bodyPr>
            <a:lstStyle/>
            <a:p>
              <a:pPr algn="ctr"/>
              <a:r>
                <a:rPr lang="en-US" altLang="zh-CN" dirty="0">
                  <a:solidFill>
                    <a:schemeClr val="tx2"/>
                  </a:solidFill>
                </a:rPr>
                <a:t>Supporting text here</a:t>
              </a:r>
              <a:endParaRPr lang="en-US" altLang="zh-CN" dirty="0">
                <a:solidFill>
                  <a:schemeClr val="tx2"/>
                </a:solidFill>
              </a:endParaRPr>
            </a:p>
          </p:txBody>
        </p:sp>
        <p:sp>
          <p:nvSpPr>
            <p:cNvPr id="9" name="ExtraShape1"/>
            <p:cNvSpPr/>
            <p:nvPr/>
          </p:nvSpPr>
          <p:spPr bwMode="auto">
            <a:xfrm>
              <a:off x="4534619" y="3787267"/>
              <a:ext cx="1417397" cy="1558302"/>
            </a:xfrm>
            <a:custGeom>
              <a:avLst/>
              <a:gdLst>
                <a:gd name="T0" fmla="*/ 636 w 736"/>
                <a:gd name="T1" fmla="*/ 230 h 810"/>
                <a:gd name="T2" fmla="*/ 714 w 736"/>
                <a:gd name="T3" fmla="*/ 453 h 810"/>
                <a:gd name="T4" fmla="*/ 357 w 736"/>
                <a:gd name="T5" fmla="*/ 810 h 810"/>
                <a:gd name="T6" fmla="*/ 229 w 736"/>
                <a:gd name="T7" fmla="*/ 810 h 810"/>
                <a:gd name="T8" fmla="*/ 229 w 736"/>
                <a:gd name="T9" fmla="*/ 786 h 810"/>
                <a:gd name="T10" fmla="*/ 0 w 736"/>
                <a:gd name="T11" fmla="*/ 453 h 810"/>
                <a:gd name="T12" fmla="*/ 229 w 736"/>
                <a:gd name="T13" fmla="*/ 120 h 810"/>
                <a:gd name="T14" fmla="*/ 229 w 736"/>
                <a:gd name="T15" fmla="*/ 96 h 810"/>
                <a:gd name="T16" fmla="*/ 357 w 736"/>
                <a:gd name="T17" fmla="*/ 96 h 810"/>
                <a:gd name="T18" fmla="*/ 490 w 736"/>
                <a:gd name="T19" fmla="*/ 122 h 810"/>
                <a:gd name="T20" fmla="*/ 608 w 736"/>
                <a:gd name="T21" fmla="*/ 0 h 810"/>
                <a:gd name="T22" fmla="*/ 736 w 736"/>
                <a:gd name="T23" fmla="*/ 0 h 810"/>
                <a:gd name="T24" fmla="*/ 636 w 736"/>
                <a:gd name="T25" fmla="*/ 23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6" h="810">
                  <a:moveTo>
                    <a:pt x="636" y="230"/>
                  </a:moveTo>
                  <a:cubicBezTo>
                    <a:pt x="684" y="291"/>
                    <a:pt x="714" y="368"/>
                    <a:pt x="714" y="453"/>
                  </a:cubicBezTo>
                  <a:cubicBezTo>
                    <a:pt x="714" y="650"/>
                    <a:pt x="554" y="810"/>
                    <a:pt x="357" y="810"/>
                  </a:cubicBezTo>
                  <a:cubicBezTo>
                    <a:pt x="229" y="810"/>
                    <a:pt x="229" y="810"/>
                    <a:pt x="229" y="810"/>
                  </a:cubicBezTo>
                  <a:cubicBezTo>
                    <a:pt x="229" y="786"/>
                    <a:pt x="229" y="786"/>
                    <a:pt x="229" y="786"/>
                  </a:cubicBezTo>
                  <a:cubicBezTo>
                    <a:pt x="95" y="734"/>
                    <a:pt x="0" y="605"/>
                    <a:pt x="0" y="453"/>
                  </a:cubicBezTo>
                  <a:cubicBezTo>
                    <a:pt x="0" y="301"/>
                    <a:pt x="95" y="171"/>
                    <a:pt x="229" y="120"/>
                  </a:cubicBezTo>
                  <a:cubicBezTo>
                    <a:pt x="229" y="96"/>
                    <a:pt x="229" y="96"/>
                    <a:pt x="229" y="96"/>
                  </a:cubicBezTo>
                  <a:cubicBezTo>
                    <a:pt x="357" y="96"/>
                    <a:pt x="357" y="96"/>
                    <a:pt x="357" y="96"/>
                  </a:cubicBezTo>
                  <a:cubicBezTo>
                    <a:pt x="404" y="96"/>
                    <a:pt x="449" y="105"/>
                    <a:pt x="490" y="122"/>
                  </a:cubicBezTo>
                  <a:cubicBezTo>
                    <a:pt x="608" y="0"/>
                    <a:pt x="608" y="0"/>
                    <a:pt x="608" y="0"/>
                  </a:cubicBezTo>
                  <a:cubicBezTo>
                    <a:pt x="736" y="0"/>
                    <a:pt x="736" y="0"/>
                    <a:pt x="736" y="0"/>
                  </a:cubicBezTo>
                  <a:lnTo>
                    <a:pt x="636" y="230"/>
                  </a:ln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" name="ExtraShape"/>
            <p:cNvSpPr/>
            <p:nvPr/>
          </p:nvSpPr>
          <p:spPr bwMode="auto">
            <a:xfrm>
              <a:off x="4504027" y="3756677"/>
              <a:ext cx="1479505" cy="1619483"/>
            </a:xfrm>
            <a:custGeom>
              <a:avLst/>
              <a:gdLst>
                <a:gd name="T0" fmla="*/ 373 w 768"/>
                <a:gd name="T1" fmla="*/ 842 h 842"/>
                <a:gd name="T2" fmla="*/ 245 w 768"/>
                <a:gd name="T3" fmla="*/ 842 h 842"/>
                <a:gd name="T4" fmla="*/ 229 w 768"/>
                <a:gd name="T5" fmla="*/ 826 h 842"/>
                <a:gd name="T6" fmla="*/ 229 w 768"/>
                <a:gd name="T7" fmla="*/ 813 h 842"/>
                <a:gd name="T8" fmla="*/ 0 w 768"/>
                <a:gd name="T9" fmla="*/ 469 h 842"/>
                <a:gd name="T10" fmla="*/ 229 w 768"/>
                <a:gd name="T11" fmla="*/ 125 h 842"/>
                <a:gd name="T12" fmla="*/ 229 w 768"/>
                <a:gd name="T13" fmla="*/ 112 h 842"/>
                <a:gd name="T14" fmla="*/ 245 w 768"/>
                <a:gd name="T15" fmla="*/ 96 h 842"/>
                <a:gd name="T16" fmla="*/ 373 w 768"/>
                <a:gd name="T17" fmla="*/ 96 h 842"/>
                <a:gd name="T18" fmla="*/ 502 w 768"/>
                <a:gd name="T19" fmla="*/ 119 h 842"/>
                <a:gd name="T20" fmla="*/ 612 w 768"/>
                <a:gd name="T21" fmla="*/ 5 h 842"/>
                <a:gd name="T22" fmla="*/ 624 w 768"/>
                <a:gd name="T23" fmla="*/ 0 h 842"/>
                <a:gd name="T24" fmla="*/ 752 w 768"/>
                <a:gd name="T25" fmla="*/ 0 h 842"/>
                <a:gd name="T26" fmla="*/ 765 w 768"/>
                <a:gd name="T27" fmla="*/ 7 h 842"/>
                <a:gd name="T28" fmla="*/ 766 w 768"/>
                <a:gd name="T29" fmla="*/ 23 h 842"/>
                <a:gd name="T30" fmla="*/ 670 w 768"/>
                <a:gd name="T31" fmla="*/ 244 h 842"/>
                <a:gd name="T32" fmla="*/ 746 w 768"/>
                <a:gd name="T33" fmla="*/ 469 h 842"/>
                <a:gd name="T34" fmla="*/ 373 w 768"/>
                <a:gd name="T35" fmla="*/ 842 h 842"/>
                <a:gd name="T36" fmla="*/ 261 w 768"/>
                <a:gd name="T37" fmla="*/ 810 h 842"/>
                <a:gd name="T38" fmla="*/ 373 w 768"/>
                <a:gd name="T39" fmla="*/ 810 h 842"/>
                <a:gd name="T40" fmla="*/ 714 w 768"/>
                <a:gd name="T41" fmla="*/ 469 h 842"/>
                <a:gd name="T42" fmla="*/ 639 w 768"/>
                <a:gd name="T43" fmla="*/ 256 h 842"/>
                <a:gd name="T44" fmla="*/ 637 w 768"/>
                <a:gd name="T45" fmla="*/ 240 h 842"/>
                <a:gd name="T46" fmla="*/ 727 w 768"/>
                <a:gd name="T47" fmla="*/ 32 h 842"/>
                <a:gd name="T48" fmla="*/ 630 w 768"/>
                <a:gd name="T49" fmla="*/ 32 h 842"/>
                <a:gd name="T50" fmla="*/ 517 w 768"/>
                <a:gd name="T51" fmla="*/ 149 h 842"/>
                <a:gd name="T52" fmla="*/ 500 w 768"/>
                <a:gd name="T53" fmla="*/ 152 h 842"/>
                <a:gd name="T54" fmla="*/ 373 w 768"/>
                <a:gd name="T55" fmla="*/ 128 h 842"/>
                <a:gd name="T56" fmla="*/ 261 w 768"/>
                <a:gd name="T57" fmla="*/ 128 h 842"/>
                <a:gd name="T58" fmla="*/ 261 w 768"/>
                <a:gd name="T59" fmla="*/ 136 h 842"/>
                <a:gd name="T60" fmla="*/ 251 w 768"/>
                <a:gd name="T61" fmla="*/ 151 h 842"/>
                <a:gd name="T62" fmla="*/ 32 w 768"/>
                <a:gd name="T63" fmla="*/ 469 h 842"/>
                <a:gd name="T64" fmla="*/ 251 w 768"/>
                <a:gd name="T65" fmla="*/ 787 h 842"/>
                <a:gd name="T66" fmla="*/ 261 w 768"/>
                <a:gd name="T67" fmla="*/ 802 h 842"/>
                <a:gd name="T68" fmla="*/ 261 w 768"/>
                <a:gd name="T69" fmla="*/ 810 h 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68" h="842">
                  <a:moveTo>
                    <a:pt x="373" y="842"/>
                  </a:moveTo>
                  <a:cubicBezTo>
                    <a:pt x="245" y="842"/>
                    <a:pt x="245" y="842"/>
                    <a:pt x="245" y="842"/>
                  </a:cubicBezTo>
                  <a:cubicBezTo>
                    <a:pt x="236" y="842"/>
                    <a:pt x="229" y="835"/>
                    <a:pt x="229" y="826"/>
                  </a:cubicBezTo>
                  <a:cubicBezTo>
                    <a:pt x="229" y="813"/>
                    <a:pt x="229" y="813"/>
                    <a:pt x="229" y="813"/>
                  </a:cubicBezTo>
                  <a:cubicBezTo>
                    <a:pt x="91" y="755"/>
                    <a:pt x="0" y="618"/>
                    <a:pt x="0" y="469"/>
                  </a:cubicBezTo>
                  <a:cubicBezTo>
                    <a:pt x="0" y="319"/>
                    <a:pt x="91" y="183"/>
                    <a:pt x="229" y="125"/>
                  </a:cubicBezTo>
                  <a:cubicBezTo>
                    <a:pt x="229" y="112"/>
                    <a:pt x="229" y="112"/>
                    <a:pt x="229" y="112"/>
                  </a:cubicBezTo>
                  <a:cubicBezTo>
                    <a:pt x="229" y="103"/>
                    <a:pt x="236" y="96"/>
                    <a:pt x="245" y="96"/>
                  </a:cubicBezTo>
                  <a:cubicBezTo>
                    <a:pt x="373" y="96"/>
                    <a:pt x="373" y="96"/>
                    <a:pt x="373" y="96"/>
                  </a:cubicBezTo>
                  <a:cubicBezTo>
                    <a:pt x="417" y="96"/>
                    <a:pt x="460" y="103"/>
                    <a:pt x="502" y="119"/>
                  </a:cubicBezTo>
                  <a:cubicBezTo>
                    <a:pt x="612" y="5"/>
                    <a:pt x="612" y="5"/>
                    <a:pt x="612" y="5"/>
                  </a:cubicBezTo>
                  <a:cubicBezTo>
                    <a:pt x="615" y="2"/>
                    <a:pt x="619" y="0"/>
                    <a:pt x="624" y="0"/>
                  </a:cubicBezTo>
                  <a:cubicBezTo>
                    <a:pt x="752" y="0"/>
                    <a:pt x="752" y="0"/>
                    <a:pt x="752" y="0"/>
                  </a:cubicBezTo>
                  <a:cubicBezTo>
                    <a:pt x="757" y="0"/>
                    <a:pt x="762" y="3"/>
                    <a:pt x="765" y="7"/>
                  </a:cubicBezTo>
                  <a:cubicBezTo>
                    <a:pt x="768" y="12"/>
                    <a:pt x="768" y="18"/>
                    <a:pt x="766" y="23"/>
                  </a:cubicBezTo>
                  <a:cubicBezTo>
                    <a:pt x="670" y="244"/>
                    <a:pt x="670" y="244"/>
                    <a:pt x="670" y="244"/>
                  </a:cubicBezTo>
                  <a:cubicBezTo>
                    <a:pt x="720" y="309"/>
                    <a:pt x="746" y="387"/>
                    <a:pt x="746" y="469"/>
                  </a:cubicBezTo>
                  <a:cubicBezTo>
                    <a:pt x="746" y="674"/>
                    <a:pt x="578" y="842"/>
                    <a:pt x="373" y="842"/>
                  </a:cubicBezTo>
                  <a:close/>
                  <a:moveTo>
                    <a:pt x="261" y="810"/>
                  </a:moveTo>
                  <a:cubicBezTo>
                    <a:pt x="373" y="810"/>
                    <a:pt x="373" y="810"/>
                    <a:pt x="373" y="810"/>
                  </a:cubicBezTo>
                  <a:cubicBezTo>
                    <a:pt x="561" y="810"/>
                    <a:pt x="714" y="657"/>
                    <a:pt x="714" y="469"/>
                  </a:cubicBezTo>
                  <a:cubicBezTo>
                    <a:pt x="714" y="391"/>
                    <a:pt x="688" y="317"/>
                    <a:pt x="639" y="256"/>
                  </a:cubicBezTo>
                  <a:cubicBezTo>
                    <a:pt x="635" y="251"/>
                    <a:pt x="635" y="245"/>
                    <a:pt x="637" y="240"/>
                  </a:cubicBezTo>
                  <a:cubicBezTo>
                    <a:pt x="727" y="32"/>
                    <a:pt x="727" y="32"/>
                    <a:pt x="727" y="32"/>
                  </a:cubicBezTo>
                  <a:cubicBezTo>
                    <a:pt x="630" y="32"/>
                    <a:pt x="630" y="32"/>
                    <a:pt x="630" y="32"/>
                  </a:cubicBezTo>
                  <a:cubicBezTo>
                    <a:pt x="517" y="149"/>
                    <a:pt x="517" y="149"/>
                    <a:pt x="517" y="149"/>
                  </a:cubicBezTo>
                  <a:cubicBezTo>
                    <a:pt x="513" y="153"/>
                    <a:pt x="506" y="155"/>
                    <a:pt x="500" y="152"/>
                  </a:cubicBezTo>
                  <a:cubicBezTo>
                    <a:pt x="459" y="136"/>
                    <a:pt x="416" y="128"/>
                    <a:pt x="373" y="128"/>
                  </a:cubicBezTo>
                  <a:cubicBezTo>
                    <a:pt x="261" y="128"/>
                    <a:pt x="261" y="128"/>
                    <a:pt x="261" y="128"/>
                  </a:cubicBezTo>
                  <a:cubicBezTo>
                    <a:pt x="261" y="136"/>
                    <a:pt x="261" y="136"/>
                    <a:pt x="261" y="136"/>
                  </a:cubicBezTo>
                  <a:cubicBezTo>
                    <a:pt x="261" y="142"/>
                    <a:pt x="257" y="148"/>
                    <a:pt x="251" y="151"/>
                  </a:cubicBezTo>
                  <a:cubicBezTo>
                    <a:pt x="120" y="201"/>
                    <a:pt x="32" y="329"/>
                    <a:pt x="32" y="469"/>
                  </a:cubicBezTo>
                  <a:cubicBezTo>
                    <a:pt x="32" y="609"/>
                    <a:pt x="120" y="736"/>
                    <a:pt x="251" y="787"/>
                  </a:cubicBezTo>
                  <a:cubicBezTo>
                    <a:pt x="257" y="789"/>
                    <a:pt x="261" y="795"/>
                    <a:pt x="261" y="802"/>
                  </a:cubicBezTo>
                  <a:cubicBezTo>
                    <a:pt x="261" y="810"/>
                    <a:pt x="261" y="810"/>
                    <a:pt x="261" y="8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" name="ExtraShape1"/>
            <p:cNvSpPr/>
            <p:nvPr/>
          </p:nvSpPr>
          <p:spPr bwMode="auto">
            <a:xfrm>
              <a:off x="6175424" y="3787267"/>
              <a:ext cx="1664906" cy="1558302"/>
            </a:xfrm>
            <a:custGeom>
              <a:avLst/>
              <a:gdLst>
                <a:gd name="T0" fmla="*/ 507 w 864"/>
                <a:gd name="T1" fmla="*/ 810 h 810"/>
                <a:gd name="T2" fmla="*/ 379 w 864"/>
                <a:gd name="T3" fmla="*/ 810 h 810"/>
                <a:gd name="T4" fmla="*/ 379 w 864"/>
                <a:gd name="T5" fmla="*/ 786 h 810"/>
                <a:gd name="T6" fmla="*/ 150 w 864"/>
                <a:gd name="T7" fmla="*/ 453 h 810"/>
                <a:gd name="T8" fmla="*/ 228 w 864"/>
                <a:gd name="T9" fmla="*/ 230 h 810"/>
                <a:gd name="T10" fmla="*/ 0 w 864"/>
                <a:gd name="T11" fmla="*/ 0 h 810"/>
                <a:gd name="T12" fmla="*/ 128 w 864"/>
                <a:gd name="T13" fmla="*/ 0 h 810"/>
                <a:gd name="T14" fmla="*/ 374 w 864"/>
                <a:gd name="T15" fmla="*/ 122 h 810"/>
                <a:gd name="T16" fmla="*/ 379 w 864"/>
                <a:gd name="T17" fmla="*/ 120 h 810"/>
                <a:gd name="T18" fmla="*/ 379 w 864"/>
                <a:gd name="T19" fmla="*/ 96 h 810"/>
                <a:gd name="T20" fmla="*/ 507 w 864"/>
                <a:gd name="T21" fmla="*/ 96 h 810"/>
                <a:gd name="T22" fmla="*/ 864 w 864"/>
                <a:gd name="T23" fmla="*/ 453 h 810"/>
                <a:gd name="T24" fmla="*/ 507 w 864"/>
                <a:gd name="T25" fmla="*/ 81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64" h="810">
                  <a:moveTo>
                    <a:pt x="507" y="810"/>
                  </a:moveTo>
                  <a:cubicBezTo>
                    <a:pt x="379" y="810"/>
                    <a:pt x="379" y="810"/>
                    <a:pt x="379" y="810"/>
                  </a:cubicBezTo>
                  <a:cubicBezTo>
                    <a:pt x="379" y="786"/>
                    <a:pt x="379" y="786"/>
                    <a:pt x="379" y="786"/>
                  </a:cubicBezTo>
                  <a:cubicBezTo>
                    <a:pt x="245" y="734"/>
                    <a:pt x="150" y="605"/>
                    <a:pt x="150" y="453"/>
                  </a:cubicBezTo>
                  <a:cubicBezTo>
                    <a:pt x="150" y="368"/>
                    <a:pt x="180" y="291"/>
                    <a:pt x="228" y="23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374" y="122"/>
                    <a:pt x="374" y="122"/>
                    <a:pt x="374" y="122"/>
                  </a:cubicBezTo>
                  <a:cubicBezTo>
                    <a:pt x="376" y="121"/>
                    <a:pt x="378" y="120"/>
                    <a:pt x="379" y="120"/>
                  </a:cubicBezTo>
                  <a:cubicBezTo>
                    <a:pt x="379" y="96"/>
                    <a:pt x="379" y="96"/>
                    <a:pt x="379" y="96"/>
                  </a:cubicBezTo>
                  <a:cubicBezTo>
                    <a:pt x="507" y="96"/>
                    <a:pt x="507" y="96"/>
                    <a:pt x="507" y="96"/>
                  </a:cubicBezTo>
                  <a:cubicBezTo>
                    <a:pt x="704" y="96"/>
                    <a:pt x="864" y="256"/>
                    <a:pt x="864" y="453"/>
                  </a:cubicBezTo>
                  <a:cubicBezTo>
                    <a:pt x="864" y="650"/>
                    <a:pt x="704" y="810"/>
                    <a:pt x="507" y="810"/>
                  </a:cubicBez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" name="ExtraShape"/>
            <p:cNvSpPr/>
            <p:nvPr/>
          </p:nvSpPr>
          <p:spPr bwMode="auto">
            <a:xfrm>
              <a:off x="6142978" y="3756677"/>
              <a:ext cx="1727943" cy="1619483"/>
            </a:xfrm>
            <a:custGeom>
              <a:avLst/>
              <a:gdLst>
                <a:gd name="T0" fmla="*/ 524 w 897"/>
                <a:gd name="T1" fmla="*/ 842 h 842"/>
                <a:gd name="T2" fmla="*/ 396 w 897"/>
                <a:gd name="T3" fmla="*/ 842 h 842"/>
                <a:gd name="T4" fmla="*/ 380 w 897"/>
                <a:gd name="T5" fmla="*/ 826 h 842"/>
                <a:gd name="T6" fmla="*/ 380 w 897"/>
                <a:gd name="T7" fmla="*/ 813 h 842"/>
                <a:gd name="T8" fmla="*/ 151 w 897"/>
                <a:gd name="T9" fmla="*/ 469 h 842"/>
                <a:gd name="T10" fmla="*/ 224 w 897"/>
                <a:gd name="T11" fmla="*/ 247 h 842"/>
                <a:gd name="T12" fmla="*/ 6 w 897"/>
                <a:gd name="T13" fmla="*/ 27 h 842"/>
                <a:gd name="T14" fmla="*/ 3 w 897"/>
                <a:gd name="T15" fmla="*/ 10 h 842"/>
                <a:gd name="T16" fmla="*/ 17 w 897"/>
                <a:gd name="T17" fmla="*/ 0 h 842"/>
                <a:gd name="T18" fmla="*/ 145 w 897"/>
                <a:gd name="T19" fmla="*/ 0 h 842"/>
                <a:gd name="T20" fmla="*/ 152 w 897"/>
                <a:gd name="T21" fmla="*/ 2 h 842"/>
                <a:gd name="T22" fmla="*/ 380 w 897"/>
                <a:gd name="T23" fmla="*/ 114 h 842"/>
                <a:gd name="T24" fmla="*/ 380 w 897"/>
                <a:gd name="T25" fmla="*/ 112 h 842"/>
                <a:gd name="T26" fmla="*/ 396 w 897"/>
                <a:gd name="T27" fmla="*/ 96 h 842"/>
                <a:gd name="T28" fmla="*/ 524 w 897"/>
                <a:gd name="T29" fmla="*/ 96 h 842"/>
                <a:gd name="T30" fmla="*/ 897 w 897"/>
                <a:gd name="T31" fmla="*/ 469 h 842"/>
                <a:gd name="T32" fmla="*/ 524 w 897"/>
                <a:gd name="T33" fmla="*/ 842 h 842"/>
                <a:gd name="T34" fmla="*/ 412 w 897"/>
                <a:gd name="T35" fmla="*/ 810 h 842"/>
                <a:gd name="T36" fmla="*/ 524 w 897"/>
                <a:gd name="T37" fmla="*/ 810 h 842"/>
                <a:gd name="T38" fmla="*/ 865 w 897"/>
                <a:gd name="T39" fmla="*/ 469 h 842"/>
                <a:gd name="T40" fmla="*/ 524 w 897"/>
                <a:gd name="T41" fmla="*/ 128 h 842"/>
                <a:gd name="T42" fmla="*/ 412 w 897"/>
                <a:gd name="T43" fmla="*/ 128 h 842"/>
                <a:gd name="T44" fmla="*/ 412 w 897"/>
                <a:gd name="T45" fmla="*/ 136 h 842"/>
                <a:gd name="T46" fmla="*/ 402 w 897"/>
                <a:gd name="T47" fmla="*/ 151 h 842"/>
                <a:gd name="T48" fmla="*/ 399 w 897"/>
                <a:gd name="T49" fmla="*/ 152 h 842"/>
                <a:gd name="T50" fmla="*/ 384 w 897"/>
                <a:gd name="T51" fmla="*/ 152 h 842"/>
                <a:gd name="T52" fmla="*/ 142 w 897"/>
                <a:gd name="T53" fmla="*/ 32 h 842"/>
                <a:gd name="T54" fmla="*/ 56 w 897"/>
                <a:gd name="T55" fmla="*/ 32 h 842"/>
                <a:gd name="T56" fmla="*/ 257 w 897"/>
                <a:gd name="T57" fmla="*/ 235 h 842"/>
                <a:gd name="T58" fmla="*/ 258 w 897"/>
                <a:gd name="T59" fmla="*/ 256 h 842"/>
                <a:gd name="T60" fmla="*/ 183 w 897"/>
                <a:gd name="T61" fmla="*/ 469 h 842"/>
                <a:gd name="T62" fmla="*/ 402 w 897"/>
                <a:gd name="T63" fmla="*/ 787 h 842"/>
                <a:gd name="T64" fmla="*/ 412 w 897"/>
                <a:gd name="T65" fmla="*/ 802 h 842"/>
                <a:gd name="T66" fmla="*/ 412 w 897"/>
                <a:gd name="T67" fmla="*/ 810 h 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7" h="842">
                  <a:moveTo>
                    <a:pt x="524" y="842"/>
                  </a:moveTo>
                  <a:cubicBezTo>
                    <a:pt x="396" y="842"/>
                    <a:pt x="396" y="842"/>
                    <a:pt x="396" y="842"/>
                  </a:cubicBezTo>
                  <a:cubicBezTo>
                    <a:pt x="387" y="842"/>
                    <a:pt x="380" y="835"/>
                    <a:pt x="380" y="826"/>
                  </a:cubicBezTo>
                  <a:cubicBezTo>
                    <a:pt x="380" y="813"/>
                    <a:pt x="380" y="813"/>
                    <a:pt x="380" y="813"/>
                  </a:cubicBezTo>
                  <a:cubicBezTo>
                    <a:pt x="243" y="755"/>
                    <a:pt x="151" y="618"/>
                    <a:pt x="151" y="469"/>
                  </a:cubicBezTo>
                  <a:cubicBezTo>
                    <a:pt x="151" y="388"/>
                    <a:pt x="176" y="312"/>
                    <a:pt x="224" y="247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1" y="23"/>
                    <a:pt x="0" y="16"/>
                    <a:pt x="3" y="10"/>
                  </a:cubicBezTo>
                  <a:cubicBezTo>
                    <a:pt x="5" y="4"/>
                    <a:pt x="11" y="0"/>
                    <a:pt x="17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8" y="0"/>
                    <a:pt x="150" y="1"/>
                    <a:pt x="152" y="2"/>
                  </a:cubicBezTo>
                  <a:cubicBezTo>
                    <a:pt x="380" y="114"/>
                    <a:pt x="380" y="114"/>
                    <a:pt x="380" y="114"/>
                  </a:cubicBezTo>
                  <a:cubicBezTo>
                    <a:pt x="380" y="112"/>
                    <a:pt x="380" y="112"/>
                    <a:pt x="380" y="112"/>
                  </a:cubicBezTo>
                  <a:cubicBezTo>
                    <a:pt x="380" y="103"/>
                    <a:pt x="387" y="96"/>
                    <a:pt x="396" y="96"/>
                  </a:cubicBezTo>
                  <a:cubicBezTo>
                    <a:pt x="524" y="96"/>
                    <a:pt x="524" y="96"/>
                    <a:pt x="524" y="96"/>
                  </a:cubicBezTo>
                  <a:cubicBezTo>
                    <a:pt x="730" y="96"/>
                    <a:pt x="897" y="263"/>
                    <a:pt x="897" y="469"/>
                  </a:cubicBezTo>
                  <a:cubicBezTo>
                    <a:pt x="897" y="674"/>
                    <a:pt x="730" y="842"/>
                    <a:pt x="524" y="842"/>
                  </a:cubicBezTo>
                  <a:close/>
                  <a:moveTo>
                    <a:pt x="412" y="810"/>
                  </a:moveTo>
                  <a:cubicBezTo>
                    <a:pt x="524" y="810"/>
                    <a:pt x="524" y="810"/>
                    <a:pt x="524" y="810"/>
                  </a:cubicBezTo>
                  <a:cubicBezTo>
                    <a:pt x="712" y="810"/>
                    <a:pt x="865" y="657"/>
                    <a:pt x="865" y="469"/>
                  </a:cubicBezTo>
                  <a:cubicBezTo>
                    <a:pt x="865" y="281"/>
                    <a:pt x="712" y="128"/>
                    <a:pt x="524" y="128"/>
                  </a:cubicBezTo>
                  <a:cubicBezTo>
                    <a:pt x="412" y="128"/>
                    <a:pt x="412" y="128"/>
                    <a:pt x="412" y="128"/>
                  </a:cubicBezTo>
                  <a:cubicBezTo>
                    <a:pt x="412" y="136"/>
                    <a:pt x="412" y="136"/>
                    <a:pt x="412" y="136"/>
                  </a:cubicBezTo>
                  <a:cubicBezTo>
                    <a:pt x="412" y="142"/>
                    <a:pt x="408" y="148"/>
                    <a:pt x="402" y="151"/>
                  </a:cubicBezTo>
                  <a:cubicBezTo>
                    <a:pt x="402" y="151"/>
                    <a:pt x="399" y="152"/>
                    <a:pt x="399" y="152"/>
                  </a:cubicBezTo>
                  <a:cubicBezTo>
                    <a:pt x="395" y="153"/>
                    <a:pt x="388" y="154"/>
                    <a:pt x="384" y="152"/>
                  </a:cubicBezTo>
                  <a:cubicBezTo>
                    <a:pt x="142" y="32"/>
                    <a:pt x="142" y="32"/>
                    <a:pt x="142" y="32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257" y="235"/>
                    <a:pt x="257" y="235"/>
                    <a:pt x="257" y="235"/>
                  </a:cubicBezTo>
                  <a:cubicBezTo>
                    <a:pt x="262" y="241"/>
                    <a:pt x="263" y="250"/>
                    <a:pt x="258" y="256"/>
                  </a:cubicBezTo>
                  <a:cubicBezTo>
                    <a:pt x="209" y="317"/>
                    <a:pt x="183" y="391"/>
                    <a:pt x="183" y="469"/>
                  </a:cubicBezTo>
                  <a:cubicBezTo>
                    <a:pt x="183" y="609"/>
                    <a:pt x="271" y="736"/>
                    <a:pt x="402" y="787"/>
                  </a:cubicBezTo>
                  <a:cubicBezTo>
                    <a:pt x="408" y="789"/>
                    <a:pt x="412" y="795"/>
                    <a:pt x="412" y="802"/>
                  </a:cubicBezTo>
                  <a:cubicBezTo>
                    <a:pt x="412" y="810"/>
                    <a:pt x="412" y="810"/>
                    <a:pt x="412" y="8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" name="ValueShape1"/>
            <p:cNvSpPr/>
            <p:nvPr/>
          </p:nvSpPr>
          <p:spPr bwMode="auto">
            <a:xfrm>
              <a:off x="4288035" y="1512431"/>
              <a:ext cx="1417397" cy="1558302"/>
            </a:xfrm>
            <a:custGeom>
              <a:avLst/>
              <a:gdLst>
                <a:gd name="T0" fmla="*/ 636 w 736"/>
                <a:gd name="T1" fmla="*/ 580 h 810"/>
                <a:gd name="T2" fmla="*/ 714 w 736"/>
                <a:gd name="T3" fmla="*/ 357 h 810"/>
                <a:gd name="T4" fmla="*/ 357 w 736"/>
                <a:gd name="T5" fmla="*/ 0 h 810"/>
                <a:gd name="T6" fmla="*/ 0 w 736"/>
                <a:gd name="T7" fmla="*/ 357 h 810"/>
                <a:gd name="T8" fmla="*/ 357 w 736"/>
                <a:gd name="T9" fmla="*/ 714 h 810"/>
                <a:gd name="T10" fmla="*/ 490 w 736"/>
                <a:gd name="T11" fmla="*/ 688 h 810"/>
                <a:gd name="T12" fmla="*/ 736 w 736"/>
                <a:gd name="T13" fmla="*/ 810 h 810"/>
                <a:gd name="T14" fmla="*/ 636 w 736"/>
                <a:gd name="T15" fmla="*/ 58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6" h="810">
                  <a:moveTo>
                    <a:pt x="636" y="580"/>
                  </a:moveTo>
                  <a:cubicBezTo>
                    <a:pt x="684" y="519"/>
                    <a:pt x="714" y="442"/>
                    <a:pt x="714" y="357"/>
                  </a:cubicBezTo>
                  <a:cubicBezTo>
                    <a:pt x="714" y="160"/>
                    <a:pt x="554" y="0"/>
                    <a:pt x="357" y="0"/>
                  </a:cubicBezTo>
                  <a:cubicBezTo>
                    <a:pt x="160" y="0"/>
                    <a:pt x="0" y="160"/>
                    <a:pt x="0" y="357"/>
                  </a:cubicBezTo>
                  <a:cubicBezTo>
                    <a:pt x="0" y="554"/>
                    <a:pt x="160" y="714"/>
                    <a:pt x="357" y="714"/>
                  </a:cubicBezTo>
                  <a:cubicBezTo>
                    <a:pt x="404" y="714"/>
                    <a:pt x="449" y="705"/>
                    <a:pt x="490" y="688"/>
                  </a:cubicBezTo>
                  <a:cubicBezTo>
                    <a:pt x="736" y="810"/>
                    <a:pt x="736" y="810"/>
                    <a:pt x="736" y="810"/>
                  </a:cubicBezTo>
                  <a:lnTo>
                    <a:pt x="636" y="58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10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  <a:gs pos="59615">
                  <a:schemeClr val="accent1">
                    <a:lumMod val="100000"/>
                  </a:schemeClr>
                </a:gs>
                <a:gs pos="59715">
                  <a:schemeClr val="accent1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" name="ValueShape2"/>
            <p:cNvSpPr/>
            <p:nvPr/>
          </p:nvSpPr>
          <p:spPr bwMode="auto">
            <a:xfrm>
              <a:off x="6175424" y="1512431"/>
              <a:ext cx="1418322" cy="1558302"/>
            </a:xfrm>
            <a:custGeom>
              <a:avLst/>
              <a:gdLst>
                <a:gd name="T0" fmla="*/ 100 w 736"/>
                <a:gd name="T1" fmla="*/ 580 h 810"/>
                <a:gd name="T2" fmla="*/ 22 w 736"/>
                <a:gd name="T3" fmla="*/ 357 h 810"/>
                <a:gd name="T4" fmla="*/ 379 w 736"/>
                <a:gd name="T5" fmla="*/ 0 h 810"/>
                <a:gd name="T6" fmla="*/ 736 w 736"/>
                <a:gd name="T7" fmla="*/ 357 h 810"/>
                <a:gd name="T8" fmla="*/ 379 w 736"/>
                <a:gd name="T9" fmla="*/ 714 h 810"/>
                <a:gd name="T10" fmla="*/ 246 w 736"/>
                <a:gd name="T11" fmla="*/ 688 h 810"/>
                <a:gd name="T12" fmla="*/ 0 w 736"/>
                <a:gd name="T13" fmla="*/ 810 h 810"/>
                <a:gd name="T14" fmla="*/ 100 w 736"/>
                <a:gd name="T15" fmla="*/ 58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6" h="810">
                  <a:moveTo>
                    <a:pt x="100" y="580"/>
                  </a:moveTo>
                  <a:cubicBezTo>
                    <a:pt x="52" y="519"/>
                    <a:pt x="22" y="442"/>
                    <a:pt x="22" y="357"/>
                  </a:cubicBezTo>
                  <a:cubicBezTo>
                    <a:pt x="22" y="160"/>
                    <a:pt x="182" y="0"/>
                    <a:pt x="379" y="0"/>
                  </a:cubicBezTo>
                  <a:cubicBezTo>
                    <a:pt x="576" y="0"/>
                    <a:pt x="736" y="160"/>
                    <a:pt x="736" y="357"/>
                  </a:cubicBezTo>
                  <a:cubicBezTo>
                    <a:pt x="736" y="554"/>
                    <a:pt x="576" y="714"/>
                    <a:pt x="379" y="714"/>
                  </a:cubicBezTo>
                  <a:cubicBezTo>
                    <a:pt x="332" y="714"/>
                    <a:pt x="287" y="705"/>
                    <a:pt x="246" y="688"/>
                  </a:cubicBezTo>
                  <a:cubicBezTo>
                    <a:pt x="0" y="810"/>
                    <a:pt x="0" y="810"/>
                    <a:pt x="0" y="810"/>
                  </a:cubicBezTo>
                  <a:lnTo>
                    <a:pt x="100" y="58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100000"/>
                  </a:schemeClr>
                </a:gs>
                <a:gs pos="100000">
                  <a:schemeClr val="accent2">
                    <a:lumMod val="20000"/>
                    <a:lumOff val="80000"/>
                  </a:schemeClr>
                </a:gs>
                <a:gs pos="50000">
                  <a:schemeClr val="accent2">
                    <a:lumMod val="100000"/>
                  </a:schemeClr>
                </a:gs>
                <a:gs pos="50100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" name="ValueShape3"/>
            <p:cNvSpPr/>
            <p:nvPr/>
          </p:nvSpPr>
          <p:spPr bwMode="auto">
            <a:xfrm>
              <a:off x="4288035" y="3787267"/>
              <a:ext cx="1417397" cy="1558302"/>
            </a:xfrm>
            <a:custGeom>
              <a:avLst/>
              <a:gdLst>
                <a:gd name="T0" fmla="*/ 636 w 736"/>
                <a:gd name="T1" fmla="*/ 230 h 810"/>
                <a:gd name="T2" fmla="*/ 714 w 736"/>
                <a:gd name="T3" fmla="*/ 453 h 810"/>
                <a:gd name="T4" fmla="*/ 357 w 736"/>
                <a:gd name="T5" fmla="*/ 810 h 810"/>
                <a:gd name="T6" fmla="*/ 0 w 736"/>
                <a:gd name="T7" fmla="*/ 453 h 810"/>
                <a:gd name="T8" fmla="*/ 357 w 736"/>
                <a:gd name="T9" fmla="*/ 96 h 810"/>
                <a:gd name="T10" fmla="*/ 490 w 736"/>
                <a:gd name="T11" fmla="*/ 122 h 810"/>
                <a:gd name="T12" fmla="*/ 736 w 736"/>
                <a:gd name="T13" fmla="*/ 0 h 810"/>
                <a:gd name="T14" fmla="*/ 636 w 736"/>
                <a:gd name="T15" fmla="*/ 23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6" h="810">
                  <a:moveTo>
                    <a:pt x="636" y="230"/>
                  </a:moveTo>
                  <a:cubicBezTo>
                    <a:pt x="684" y="291"/>
                    <a:pt x="714" y="368"/>
                    <a:pt x="714" y="453"/>
                  </a:cubicBezTo>
                  <a:cubicBezTo>
                    <a:pt x="714" y="650"/>
                    <a:pt x="554" y="810"/>
                    <a:pt x="357" y="810"/>
                  </a:cubicBezTo>
                  <a:cubicBezTo>
                    <a:pt x="160" y="810"/>
                    <a:pt x="0" y="650"/>
                    <a:pt x="0" y="453"/>
                  </a:cubicBezTo>
                  <a:cubicBezTo>
                    <a:pt x="0" y="256"/>
                    <a:pt x="160" y="96"/>
                    <a:pt x="357" y="96"/>
                  </a:cubicBezTo>
                  <a:cubicBezTo>
                    <a:pt x="404" y="96"/>
                    <a:pt x="449" y="105"/>
                    <a:pt x="490" y="122"/>
                  </a:cubicBezTo>
                  <a:cubicBezTo>
                    <a:pt x="736" y="0"/>
                    <a:pt x="736" y="0"/>
                    <a:pt x="736" y="0"/>
                  </a:cubicBezTo>
                  <a:lnTo>
                    <a:pt x="636" y="23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100000"/>
                  </a:schemeClr>
                </a:gs>
                <a:gs pos="100000">
                  <a:schemeClr val="accent3">
                    <a:lumMod val="20000"/>
                    <a:lumOff val="80000"/>
                  </a:schemeClr>
                </a:gs>
                <a:gs pos="59615">
                  <a:schemeClr val="accent3">
                    <a:lumMod val="100000"/>
                  </a:schemeClr>
                </a:gs>
                <a:gs pos="59715">
                  <a:schemeClr val="accent3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" name="ValueShape4"/>
            <p:cNvSpPr/>
            <p:nvPr/>
          </p:nvSpPr>
          <p:spPr bwMode="auto">
            <a:xfrm>
              <a:off x="6175424" y="3787267"/>
              <a:ext cx="1418322" cy="1558302"/>
            </a:xfrm>
            <a:custGeom>
              <a:avLst/>
              <a:gdLst>
                <a:gd name="T0" fmla="*/ 100 w 736"/>
                <a:gd name="T1" fmla="*/ 230 h 810"/>
                <a:gd name="T2" fmla="*/ 22 w 736"/>
                <a:gd name="T3" fmla="*/ 453 h 810"/>
                <a:gd name="T4" fmla="*/ 379 w 736"/>
                <a:gd name="T5" fmla="*/ 810 h 810"/>
                <a:gd name="T6" fmla="*/ 736 w 736"/>
                <a:gd name="T7" fmla="*/ 453 h 810"/>
                <a:gd name="T8" fmla="*/ 379 w 736"/>
                <a:gd name="T9" fmla="*/ 96 h 810"/>
                <a:gd name="T10" fmla="*/ 246 w 736"/>
                <a:gd name="T11" fmla="*/ 122 h 810"/>
                <a:gd name="T12" fmla="*/ 0 w 736"/>
                <a:gd name="T13" fmla="*/ 0 h 810"/>
                <a:gd name="T14" fmla="*/ 100 w 736"/>
                <a:gd name="T15" fmla="*/ 23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6" h="810">
                  <a:moveTo>
                    <a:pt x="100" y="230"/>
                  </a:moveTo>
                  <a:cubicBezTo>
                    <a:pt x="52" y="291"/>
                    <a:pt x="22" y="368"/>
                    <a:pt x="22" y="453"/>
                  </a:cubicBezTo>
                  <a:cubicBezTo>
                    <a:pt x="22" y="650"/>
                    <a:pt x="182" y="810"/>
                    <a:pt x="379" y="810"/>
                  </a:cubicBezTo>
                  <a:cubicBezTo>
                    <a:pt x="576" y="810"/>
                    <a:pt x="736" y="650"/>
                    <a:pt x="736" y="453"/>
                  </a:cubicBezTo>
                  <a:cubicBezTo>
                    <a:pt x="736" y="256"/>
                    <a:pt x="576" y="96"/>
                    <a:pt x="379" y="96"/>
                  </a:cubicBezTo>
                  <a:cubicBezTo>
                    <a:pt x="332" y="96"/>
                    <a:pt x="287" y="105"/>
                    <a:pt x="246" y="122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00" y="23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lumMod val="100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  <a:gs pos="48077">
                  <a:schemeClr val="accent4">
                    <a:lumMod val="100000"/>
                  </a:schemeClr>
                </a:gs>
                <a:gs pos="48177">
                  <a:schemeClr val="accent4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" name="ValueText1"/>
            <p:cNvSpPr txBox="1"/>
            <p:nvPr/>
          </p:nvSpPr>
          <p:spPr>
            <a:xfrm>
              <a:off x="3474549" y="2080589"/>
              <a:ext cx="634246" cy="404609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1">
                      <a:lumMod val="100000"/>
                    </a:schemeClr>
                  </a:solidFill>
                  <a:latin typeface="Impact" panose="020B0806030902050204" pitchFamily="34" charset="0"/>
                </a:rPr>
                <a:t>60%</a:t>
              </a:r>
              <a:endParaRPr lang="en-US" altLang="zh-CN" sz="3600" b="1" dirty="0">
                <a:solidFill>
                  <a:schemeClr val="accent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8" name="ValueText2"/>
            <p:cNvSpPr txBox="1"/>
            <p:nvPr/>
          </p:nvSpPr>
          <p:spPr>
            <a:xfrm>
              <a:off x="8083206" y="2080589"/>
              <a:ext cx="634245" cy="404608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2">
                      <a:lumMod val="100000"/>
                    </a:schemeClr>
                  </a:solidFill>
                  <a:latin typeface="Impact" panose="020B0806030902050204" pitchFamily="34" charset="0"/>
                </a:rPr>
                <a:t>50%</a:t>
              </a:r>
              <a:endParaRPr lang="en-US" altLang="zh-CN" sz="3600" b="1" dirty="0">
                <a:solidFill>
                  <a:schemeClr val="accent2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9" name="ValueText3"/>
            <p:cNvSpPr txBox="1"/>
            <p:nvPr/>
          </p:nvSpPr>
          <p:spPr>
            <a:xfrm>
              <a:off x="3474549" y="4447297"/>
              <a:ext cx="634246" cy="404609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3">
                      <a:lumMod val="100000"/>
                    </a:schemeClr>
                  </a:solidFill>
                  <a:latin typeface="Impact" panose="020B0806030902050204" pitchFamily="34" charset="0"/>
                </a:rPr>
                <a:t>60%</a:t>
              </a:r>
              <a:endParaRPr lang="en-US" altLang="zh-CN" sz="3600" b="1" dirty="0">
                <a:solidFill>
                  <a:schemeClr val="accent3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20" name="ValueText4"/>
            <p:cNvSpPr txBox="1"/>
            <p:nvPr/>
          </p:nvSpPr>
          <p:spPr>
            <a:xfrm>
              <a:off x="8021903" y="4447297"/>
              <a:ext cx="634245" cy="404608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4">
                      <a:lumMod val="100000"/>
                    </a:schemeClr>
                  </a:solidFill>
                  <a:latin typeface="Impact" panose="020B0806030902050204" pitchFamily="34" charset="0"/>
                </a:rPr>
                <a:t>48%</a:t>
              </a:r>
              <a:endParaRPr lang="en-US" altLang="zh-CN" sz="3600" b="1" dirty="0">
                <a:solidFill>
                  <a:schemeClr val="accent4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21" name="ExtraShape1"/>
            <p:cNvSpPr/>
            <p:nvPr/>
          </p:nvSpPr>
          <p:spPr bwMode="auto">
            <a:xfrm>
              <a:off x="4257443" y="1481840"/>
              <a:ext cx="1481358" cy="1619483"/>
            </a:xfrm>
            <a:custGeom>
              <a:avLst/>
              <a:gdLst>
                <a:gd name="T0" fmla="*/ 752 w 769"/>
                <a:gd name="T1" fmla="*/ 842 h 842"/>
                <a:gd name="T2" fmla="*/ 745 w 769"/>
                <a:gd name="T3" fmla="*/ 840 h 842"/>
                <a:gd name="T4" fmla="*/ 505 w 769"/>
                <a:gd name="T5" fmla="*/ 722 h 842"/>
                <a:gd name="T6" fmla="*/ 373 w 769"/>
                <a:gd name="T7" fmla="*/ 746 h 842"/>
                <a:gd name="T8" fmla="*/ 0 w 769"/>
                <a:gd name="T9" fmla="*/ 373 h 842"/>
                <a:gd name="T10" fmla="*/ 373 w 769"/>
                <a:gd name="T11" fmla="*/ 0 h 842"/>
                <a:gd name="T12" fmla="*/ 746 w 769"/>
                <a:gd name="T13" fmla="*/ 373 h 842"/>
                <a:gd name="T14" fmla="*/ 670 w 769"/>
                <a:gd name="T15" fmla="*/ 598 h 842"/>
                <a:gd name="T16" fmla="*/ 766 w 769"/>
                <a:gd name="T17" fmla="*/ 819 h 842"/>
                <a:gd name="T18" fmla="*/ 763 w 769"/>
                <a:gd name="T19" fmla="*/ 837 h 842"/>
                <a:gd name="T20" fmla="*/ 752 w 769"/>
                <a:gd name="T21" fmla="*/ 842 h 842"/>
                <a:gd name="T22" fmla="*/ 506 w 769"/>
                <a:gd name="T23" fmla="*/ 688 h 842"/>
                <a:gd name="T24" fmla="*/ 513 w 769"/>
                <a:gd name="T25" fmla="*/ 690 h 842"/>
                <a:gd name="T26" fmla="*/ 720 w 769"/>
                <a:gd name="T27" fmla="*/ 792 h 842"/>
                <a:gd name="T28" fmla="*/ 637 w 769"/>
                <a:gd name="T29" fmla="*/ 602 h 842"/>
                <a:gd name="T30" fmla="*/ 639 w 769"/>
                <a:gd name="T31" fmla="*/ 586 h 842"/>
                <a:gd name="T32" fmla="*/ 714 w 769"/>
                <a:gd name="T33" fmla="*/ 373 h 842"/>
                <a:gd name="T34" fmla="*/ 373 w 769"/>
                <a:gd name="T35" fmla="*/ 32 h 842"/>
                <a:gd name="T36" fmla="*/ 32 w 769"/>
                <a:gd name="T37" fmla="*/ 373 h 842"/>
                <a:gd name="T38" fmla="*/ 373 w 769"/>
                <a:gd name="T39" fmla="*/ 714 h 842"/>
                <a:gd name="T40" fmla="*/ 500 w 769"/>
                <a:gd name="T41" fmla="*/ 690 h 842"/>
                <a:gd name="T42" fmla="*/ 506 w 769"/>
                <a:gd name="T43" fmla="*/ 688 h 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69" h="842">
                  <a:moveTo>
                    <a:pt x="752" y="842"/>
                  </a:moveTo>
                  <a:cubicBezTo>
                    <a:pt x="749" y="842"/>
                    <a:pt x="747" y="841"/>
                    <a:pt x="745" y="840"/>
                  </a:cubicBezTo>
                  <a:cubicBezTo>
                    <a:pt x="505" y="722"/>
                    <a:pt x="505" y="722"/>
                    <a:pt x="505" y="722"/>
                  </a:cubicBezTo>
                  <a:cubicBezTo>
                    <a:pt x="463" y="738"/>
                    <a:pt x="418" y="746"/>
                    <a:pt x="373" y="746"/>
                  </a:cubicBezTo>
                  <a:cubicBezTo>
                    <a:pt x="167" y="746"/>
                    <a:pt x="0" y="579"/>
                    <a:pt x="0" y="373"/>
                  </a:cubicBezTo>
                  <a:cubicBezTo>
                    <a:pt x="0" y="168"/>
                    <a:pt x="167" y="0"/>
                    <a:pt x="373" y="0"/>
                  </a:cubicBezTo>
                  <a:cubicBezTo>
                    <a:pt x="578" y="0"/>
                    <a:pt x="746" y="168"/>
                    <a:pt x="746" y="373"/>
                  </a:cubicBezTo>
                  <a:cubicBezTo>
                    <a:pt x="746" y="455"/>
                    <a:pt x="720" y="533"/>
                    <a:pt x="670" y="598"/>
                  </a:cubicBezTo>
                  <a:cubicBezTo>
                    <a:pt x="766" y="819"/>
                    <a:pt x="766" y="819"/>
                    <a:pt x="766" y="819"/>
                  </a:cubicBezTo>
                  <a:cubicBezTo>
                    <a:pt x="769" y="826"/>
                    <a:pt x="768" y="833"/>
                    <a:pt x="763" y="837"/>
                  </a:cubicBezTo>
                  <a:cubicBezTo>
                    <a:pt x="760" y="840"/>
                    <a:pt x="756" y="842"/>
                    <a:pt x="752" y="842"/>
                  </a:cubicBezTo>
                  <a:close/>
                  <a:moveTo>
                    <a:pt x="506" y="688"/>
                  </a:moveTo>
                  <a:cubicBezTo>
                    <a:pt x="508" y="688"/>
                    <a:pt x="511" y="689"/>
                    <a:pt x="513" y="690"/>
                  </a:cubicBezTo>
                  <a:cubicBezTo>
                    <a:pt x="720" y="792"/>
                    <a:pt x="720" y="792"/>
                    <a:pt x="720" y="792"/>
                  </a:cubicBezTo>
                  <a:cubicBezTo>
                    <a:pt x="637" y="602"/>
                    <a:pt x="637" y="602"/>
                    <a:pt x="637" y="602"/>
                  </a:cubicBezTo>
                  <a:cubicBezTo>
                    <a:pt x="635" y="597"/>
                    <a:pt x="635" y="591"/>
                    <a:pt x="639" y="586"/>
                  </a:cubicBezTo>
                  <a:cubicBezTo>
                    <a:pt x="688" y="525"/>
                    <a:pt x="714" y="451"/>
                    <a:pt x="714" y="373"/>
                  </a:cubicBezTo>
                  <a:cubicBezTo>
                    <a:pt x="714" y="185"/>
                    <a:pt x="561" y="32"/>
                    <a:pt x="373" y="32"/>
                  </a:cubicBezTo>
                  <a:cubicBezTo>
                    <a:pt x="185" y="32"/>
                    <a:pt x="32" y="185"/>
                    <a:pt x="32" y="373"/>
                  </a:cubicBezTo>
                  <a:cubicBezTo>
                    <a:pt x="32" y="561"/>
                    <a:pt x="185" y="714"/>
                    <a:pt x="373" y="714"/>
                  </a:cubicBezTo>
                  <a:cubicBezTo>
                    <a:pt x="416" y="714"/>
                    <a:pt x="459" y="706"/>
                    <a:pt x="500" y="690"/>
                  </a:cubicBezTo>
                  <a:cubicBezTo>
                    <a:pt x="502" y="689"/>
                    <a:pt x="504" y="688"/>
                    <a:pt x="506" y="68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" name="ExtraShape2"/>
            <p:cNvSpPr/>
            <p:nvPr/>
          </p:nvSpPr>
          <p:spPr bwMode="auto">
            <a:xfrm>
              <a:off x="6142978" y="1481840"/>
              <a:ext cx="1481358" cy="1619483"/>
            </a:xfrm>
            <a:custGeom>
              <a:avLst/>
              <a:gdLst>
                <a:gd name="T0" fmla="*/ 17 w 769"/>
                <a:gd name="T1" fmla="*/ 842 h 842"/>
                <a:gd name="T2" fmla="*/ 6 w 769"/>
                <a:gd name="T3" fmla="*/ 837 h 842"/>
                <a:gd name="T4" fmla="*/ 3 w 769"/>
                <a:gd name="T5" fmla="*/ 819 h 842"/>
                <a:gd name="T6" fmla="*/ 99 w 769"/>
                <a:gd name="T7" fmla="*/ 598 h 842"/>
                <a:gd name="T8" fmla="*/ 23 w 769"/>
                <a:gd name="T9" fmla="*/ 373 h 842"/>
                <a:gd name="T10" fmla="*/ 396 w 769"/>
                <a:gd name="T11" fmla="*/ 0 h 842"/>
                <a:gd name="T12" fmla="*/ 769 w 769"/>
                <a:gd name="T13" fmla="*/ 373 h 842"/>
                <a:gd name="T14" fmla="*/ 396 w 769"/>
                <a:gd name="T15" fmla="*/ 746 h 842"/>
                <a:gd name="T16" fmla="*/ 264 w 769"/>
                <a:gd name="T17" fmla="*/ 722 h 842"/>
                <a:gd name="T18" fmla="*/ 24 w 769"/>
                <a:gd name="T19" fmla="*/ 840 h 842"/>
                <a:gd name="T20" fmla="*/ 17 w 769"/>
                <a:gd name="T21" fmla="*/ 842 h 842"/>
                <a:gd name="T22" fmla="*/ 396 w 769"/>
                <a:gd name="T23" fmla="*/ 32 h 842"/>
                <a:gd name="T24" fmla="*/ 55 w 769"/>
                <a:gd name="T25" fmla="*/ 373 h 842"/>
                <a:gd name="T26" fmla="*/ 130 w 769"/>
                <a:gd name="T27" fmla="*/ 586 h 842"/>
                <a:gd name="T28" fmla="*/ 132 w 769"/>
                <a:gd name="T29" fmla="*/ 602 h 842"/>
                <a:gd name="T30" fmla="*/ 49 w 769"/>
                <a:gd name="T31" fmla="*/ 792 h 842"/>
                <a:gd name="T32" fmla="*/ 256 w 769"/>
                <a:gd name="T33" fmla="*/ 690 h 842"/>
                <a:gd name="T34" fmla="*/ 269 w 769"/>
                <a:gd name="T35" fmla="*/ 690 h 842"/>
                <a:gd name="T36" fmla="*/ 396 w 769"/>
                <a:gd name="T37" fmla="*/ 714 h 842"/>
                <a:gd name="T38" fmla="*/ 737 w 769"/>
                <a:gd name="T39" fmla="*/ 373 h 842"/>
                <a:gd name="T40" fmla="*/ 396 w 769"/>
                <a:gd name="T41" fmla="*/ 32 h 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69" h="842">
                  <a:moveTo>
                    <a:pt x="17" y="842"/>
                  </a:moveTo>
                  <a:cubicBezTo>
                    <a:pt x="13" y="842"/>
                    <a:pt x="9" y="840"/>
                    <a:pt x="6" y="837"/>
                  </a:cubicBezTo>
                  <a:cubicBezTo>
                    <a:pt x="1" y="833"/>
                    <a:pt x="0" y="826"/>
                    <a:pt x="3" y="819"/>
                  </a:cubicBezTo>
                  <a:cubicBezTo>
                    <a:pt x="99" y="598"/>
                    <a:pt x="99" y="598"/>
                    <a:pt x="99" y="598"/>
                  </a:cubicBezTo>
                  <a:cubicBezTo>
                    <a:pt x="49" y="533"/>
                    <a:pt x="23" y="455"/>
                    <a:pt x="23" y="373"/>
                  </a:cubicBezTo>
                  <a:cubicBezTo>
                    <a:pt x="23" y="168"/>
                    <a:pt x="191" y="0"/>
                    <a:pt x="396" y="0"/>
                  </a:cubicBezTo>
                  <a:cubicBezTo>
                    <a:pt x="602" y="0"/>
                    <a:pt x="769" y="168"/>
                    <a:pt x="769" y="373"/>
                  </a:cubicBezTo>
                  <a:cubicBezTo>
                    <a:pt x="769" y="579"/>
                    <a:pt x="602" y="746"/>
                    <a:pt x="396" y="746"/>
                  </a:cubicBezTo>
                  <a:cubicBezTo>
                    <a:pt x="351" y="746"/>
                    <a:pt x="306" y="738"/>
                    <a:pt x="264" y="722"/>
                  </a:cubicBezTo>
                  <a:cubicBezTo>
                    <a:pt x="24" y="840"/>
                    <a:pt x="24" y="840"/>
                    <a:pt x="24" y="840"/>
                  </a:cubicBezTo>
                  <a:cubicBezTo>
                    <a:pt x="22" y="841"/>
                    <a:pt x="20" y="842"/>
                    <a:pt x="17" y="842"/>
                  </a:cubicBezTo>
                  <a:close/>
                  <a:moveTo>
                    <a:pt x="396" y="32"/>
                  </a:moveTo>
                  <a:cubicBezTo>
                    <a:pt x="208" y="32"/>
                    <a:pt x="55" y="185"/>
                    <a:pt x="55" y="373"/>
                  </a:cubicBezTo>
                  <a:cubicBezTo>
                    <a:pt x="55" y="451"/>
                    <a:pt x="81" y="525"/>
                    <a:pt x="130" y="586"/>
                  </a:cubicBezTo>
                  <a:cubicBezTo>
                    <a:pt x="134" y="591"/>
                    <a:pt x="134" y="597"/>
                    <a:pt x="132" y="602"/>
                  </a:cubicBezTo>
                  <a:cubicBezTo>
                    <a:pt x="49" y="792"/>
                    <a:pt x="49" y="792"/>
                    <a:pt x="49" y="792"/>
                  </a:cubicBezTo>
                  <a:cubicBezTo>
                    <a:pt x="256" y="690"/>
                    <a:pt x="256" y="690"/>
                    <a:pt x="256" y="690"/>
                  </a:cubicBezTo>
                  <a:cubicBezTo>
                    <a:pt x="260" y="688"/>
                    <a:pt x="265" y="688"/>
                    <a:pt x="269" y="690"/>
                  </a:cubicBezTo>
                  <a:cubicBezTo>
                    <a:pt x="310" y="706"/>
                    <a:pt x="353" y="714"/>
                    <a:pt x="396" y="714"/>
                  </a:cubicBezTo>
                  <a:cubicBezTo>
                    <a:pt x="584" y="714"/>
                    <a:pt x="737" y="561"/>
                    <a:pt x="737" y="373"/>
                  </a:cubicBezTo>
                  <a:cubicBezTo>
                    <a:pt x="737" y="185"/>
                    <a:pt x="584" y="32"/>
                    <a:pt x="396" y="3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" name="ExtraShape3"/>
            <p:cNvSpPr/>
            <p:nvPr/>
          </p:nvSpPr>
          <p:spPr bwMode="auto">
            <a:xfrm>
              <a:off x="4257443" y="3754822"/>
              <a:ext cx="1481358" cy="1621338"/>
            </a:xfrm>
            <a:custGeom>
              <a:avLst/>
              <a:gdLst>
                <a:gd name="T0" fmla="*/ 373 w 769"/>
                <a:gd name="T1" fmla="*/ 843 h 843"/>
                <a:gd name="T2" fmla="*/ 0 w 769"/>
                <a:gd name="T3" fmla="*/ 470 h 843"/>
                <a:gd name="T4" fmla="*/ 373 w 769"/>
                <a:gd name="T5" fmla="*/ 97 h 843"/>
                <a:gd name="T6" fmla="*/ 505 w 769"/>
                <a:gd name="T7" fmla="*/ 121 h 843"/>
                <a:gd name="T8" fmla="*/ 745 w 769"/>
                <a:gd name="T9" fmla="*/ 3 h 843"/>
                <a:gd name="T10" fmla="*/ 763 w 769"/>
                <a:gd name="T11" fmla="*/ 6 h 843"/>
                <a:gd name="T12" fmla="*/ 766 w 769"/>
                <a:gd name="T13" fmla="*/ 24 h 843"/>
                <a:gd name="T14" fmla="*/ 670 w 769"/>
                <a:gd name="T15" fmla="*/ 245 h 843"/>
                <a:gd name="T16" fmla="*/ 746 w 769"/>
                <a:gd name="T17" fmla="*/ 470 h 843"/>
                <a:gd name="T18" fmla="*/ 373 w 769"/>
                <a:gd name="T19" fmla="*/ 843 h 843"/>
                <a:gd name="T20" fmla="*/ 373 w 769"/>
                <a:gd name="T21" fmla="*/ 129 h 843"/>
                <a:gd name="T22" fmla="*/ 32 w 769"/>
                <a:gd name="T23" fmla="*/ 470 h 843"/>
                <a:gd name="T24" fmla="*/ 373 w 769"/>
                <a:gd name="T25" fmla="*/ 811 h 843"/>
                <a:gd name="T26" fmla="*/ 714 w 769"/>
                <a:gd name="T27" fmla="*/ 470 h 843"/>
                <a:gd name="T28" fmla="*/ 639 w 769"/>
                <a:gd name="T29" fmla="*/ 257 h 843"/>
                <a:gd name="T30" fmla="*/ 637 w 769"/>
                <a:gd name="T31" fmla="*/ 241 h 843"/>
                <a:gd name="T32" fmla="*/ 720 w 769"/>
                <a:gd name="T33" fmla="*/ 51 h 843"/>
                <a:gd name="T34" fmla="*/ 513 w 769"/>
                <a:gd name="T35" fmla="*/ 153 h 843"/>
                <a:gd name="T36" fmla="*/ 500 w 769"/>
                <a:gd name="T37" fmla="*/ 153 h 843"/>
                <a:gd name="T38" fmla="*/ 373 w 769"/>
                <a:gd name="T39" fmla="*/ 129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69" h="843">
                  <a:moveTo>
                    <a:pt x="373" y="843"/>
                  </a:moveTo>
                  <a:cubicBezTo>
                    <a:pt x="167" y="843"/>
                    <a:pt x="0" y="675"/>
                    <a:pt x="0" y="470"/>
                  </a:cubicBezTo>
                  <a:cubicBezTo>
                    <a:pt x="0" y="264"/>
                    <a:pt x="167" y="97"/>
                    <a:pt x="373" y="97"/>
                  </a:cubicBezTo>
                  <a:cubicBezTo>
                    <a:pt x="418" y="97"/>
                    <a:pt x="463" y="105"/>
                    <a:pt x="505" y="121"/>
                  </a:cubicBezTo>
                  <a:cubicBezTo>
                    <a:pt x="745" y="3"/>
                    <a:pt x="745" y="3"/>
                    <a:pt x="745" y="3"/>
                  </a:cubicBezTo>
                  <a:cubicBezTo>
                    <a:pt x="751" y="0"/>
                    <a:pt x="758" y="1"/>
                    <a:pt x="763" y="6"/>
                  </a:cubicBezTo>
                  <a:cubicBezTo>
                    <a:pt x="768" y="10"/>
                    <a:pt x="769" y="17"/>
                    <a:pt x="766" y="24"/>
                  </a:cubicBezTo>
                  <a:cubicBezTo>
                    <a:pt x="670" y="245"/>
                    <a:pt x="670" y="245"/>
                    <a:pt x="670" y="245"/>
                  </a:cubicBezTo>
                  <a:cubicBezTo>
                    <a:pt x="720" y="310"/>
                    <a:pt x="746" y="388"/>
                    <a:pt x="746" y="470"/>
                  </a:cubicBezTo>
                  <a:cubicBezTo>
                    <a:pt x="746" y="675"/>
                    <a:pt x="578" y="843"/>
                    <a:pt x="373" y="843"/>
                  </a:cubicBezTo>
                  <a:close/>
                  <a:moveTo>
                    <a:pt x="373" y="129"/>
                  </a:moveTo>
                  <a:cubicBezTo>
                    <a:pt x="185" y="129"/>
                    <a:pt x="32" y="282"/>
                    <a:pt x="32" y="470"/>
                  </a:cubicBezTo>
                  <a:cubicBezTo>
                    <a:pt x="32" y="658"/>
                    <a:pt x="185" y="811"/>
                    <a:pt x="373" y="811"/>
                  </a:cubicBezTo>
                  <a:cubicBezTo>
                    <a:pt x="561" y="811"/>
                    <a:pt x="714" y="658"/>
                    <a:pt x="714" y="470"/>
                  </a:cubicBezTo>
                  <a:cubicBezTo>
                    <a:pt x="714" y="392"/>
                    <a:pt x="688" y="318"/>
                    <a:pt x="639" y="257"/>
                  </a:cubicBezTo>
                  <a:cubicBezTo>
                    <a:pt x="635" y="252"/>
                    <a:pt x="635" y="246"/>
                    <a:pt x="637" y="241"/>
                  </a:cubicBezTo>
                  <a:cubicBezTo>
                    <a:pt x="720" y="51"/>
                    <a:pt x="720" y="51"/>
                    <a:pt x="720" y="51"/>
                  </a:cubicBezTo>
                  <a:cubicBezTo>
                    <a:pt x="513" y="153"/>
                    <a:pt x="513" y="153"/>
                    <a:pt x="513" y="153"/>
                  </a:cubicBezTo>
                  <a:cubicBezTo>
                    <a:pt x="509" y="155"/>
                    <a:pt x="504" y="155"/>
                    <a:pt x="500" y="153"/>
                  </a:cubicBezTo>
                  <a:cubicBezTo>
                    <a:pt x="459" y="137"/>
                    <a:pt x="416" y="129"/>
                    <a:pt x="373" y="1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" name="ExtraShape4"/>
            <p:cNvSpPr/>
            <p:nvPr/>
          </p:nvSpPr>
          <p:spPr bwMode="auto">
            <a:xfrm>
              <a:off x="6142978" y="3754822"/>
              <a:ext cx="1481358" cy="1621338"/>
            </a:xfrm>
            <a:custGeom>
              <a:avLst/>
              <a:gdLst>
                <a:gd name="T0" fmla="*/ 396 w 769"/>
                <a:gd name="T1" fmla="*/ 843 h 843"/>
                <a:gd name="T2" fmla="*/ 23 w 769"/>
                <a:gd name="T3" fmla="*/ 470 h 843"/>
                <a:gd name="T4" fmla="*/ 99 w 769"/>
                <a:gd name="T5" fmla="*/ 245 h 843"/>
                <a:gd name="T6" fmla="*/ 3 w 769"/>
                <a:gd name="T7" fmla="*/ 24 h 843"/>
                <a:gd name="T8" fmla="*/ 6 w 769"/>
                <a:gd name="T9" fmla="*/ 6 h 843"/>
                <a:gd name="T10" fmla="*/ 24 w 769"/>
                <a:gd name="T11" fmla="*/ 3 h 843"/>
                <a:gd name="T12" fmla="*/ 264 w 769"/>
                <a:gd name="T13" fmla="*/ 121 h 843"/>
                <a:gd name="T14" fmla="*/ 396 w 769"/>
                <a:gd name="T15" fmla="*/ 97 h 843"/>
                <a:gd name="T16" fmla="*/ 769 w 769"/>
                <a:gd name="T17" fmla="*/ 470 h 843"/>
                <a:gd name="T18" fmla="*/ 396 w 769"/>
                <a:gd name="T19" fmla="*/ 843 h 843"/>
                <a:gd name="T20" fmla="*/ 49 w 769"/>
                <a:gd name="T21" fmla="*/ 51 h 843"/>
                <a:gd name="T22" fmla="*/ 132 w 769"/>
                <a:gd name="T23" fmla="*/ 241 h 843"/>
                <a:gd name="T24" fmla="*/ 130 w 769"/>
                <a:gd name="T25" fmla="*/ 257 h 843"/>
                <a:gd name="T26" fmla="*/ 55 w 769"/>
                <a:gd name="T27" fmla="*/ 470 h 843"/>
                <a:gd name="T28" fmla="*/ 396 w 769"/>
                <a:gd name="T29" fmla="*/ 811 h 843"/>
                <a:gd name="T30" fmla="*/ 737 w 769"/>
                <a:gd name="T31" fmla="*/ 470 h 843"/>
                <a:gd name="T32" fmla="*/ 396 w 769"/>
                <a:gd name="T33" fmla="*/ 129 h 843"/>
                <a:gd name="T34" fmla="*/ 269 w 769"/>
                <a:gd name="T35" fmla="*/ 153 h 843"/>
                <a:gd name="T36" fmla="*/ 256 w 769"/>
                <a:gd name="T37" fmla="*/ 153 h 843"/>
                <a:gd name="T38" fmla="*/ 49 w 769"/>
                <a:gd name="T39" fmla="*/ 51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69" h="843">
                  <a:moveTo>
                    <a:pt x="396" y="843"/>
                  </a:moveTo>
                  <a:cubicBezTo>
                    <a:pt x="191" y="843"/>
                    <a:pt x="23" y="675"/>
                    <a:pt x="23" y="470"/>
                  </a:cubicBezTo>
                  <a:cubicBezTo>
                    <a:pt x="23" y="388"/>
                    <a:pt x="49" y="310"/>
                    <a:pt x="99" y="245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0" y="17"/>
                    <a:pt x="1" y="10"/>
                    <a:pt x="6" y="6"/>
                  </a:cubicBezTo>
                  <a:cubicBezTo>
                    <a:pt x="11" y="1"/>
                    <a:pt x="18" y="0"/>
                    <a:pt x="24" y="3"/>
                  </a:cubicBezTo>
                  <a:cubicBezTo>
                    <a:pt x="264" y="121"/>
                    <a:pt x="264" y="121"/>
                    <a:pt x="264" y="121"/>
                  </a:cubicBezTo>
                  <a:cubicBezTo>
                    <a:pt x="306" y="105"/>
                    <a:pt x="351" y="97"/>
                    <a:pt x="396" y="97"/>
                  </a:cubicBezTo>
                  <a:cubicBezTo>
                    <a:pt x="602" y="97"/>
                    <a:pt x="769" y="264"/>
                    <a:pt x="769" y="470"/>
                  </a:cubicBezTo>
                  <a:cubicBezTo>
                    <a:pt x="769" y="675"/>
                    <a:pt x="602" y="843"/>
                    <a:pt x="396" y="843"/>
                  </a:cubicBezTo>
                  <a:close/>
                  <a:moveTo>
                    <a:pt x="49" y="51"/>
                  </a:moveTo>
                  <a:cubicBezTo>
                    <a:pt x="132" y="241"/>
                    <a:pt x="132" y="241"/>
                    <a:pt x="132" y="241"/>
                  </a:cubicBezTo>
                  <a:cubicBezTo>
                    <a:pt x="134" y="246"/>
                    <a:pt x="134" y="252"/>
                    <a:pt x="130" y="257"/>
                  </a:cubicBezTo>
                  <a:cubicBezTo>
                    <a:pt x="81" y="318"/>
                    <a:pt x="55" y="392"/>
                    <a:pt x="55" y="470"/>
                  </a:cubicBezTo>
                  <a:cubicBezTo>
                    <a:pt x="55" y="658"/>
                    <a:pt x="208" y="811"/>
                    <a:pt x="396" y="811"/>
                  </a:cubicBezTo>
                  <a:cubicBezTo>
                    <a:pt x="584" y="811"/>
                    <a:pt x="737" y="658"/>
                    <a:pt x="737" y="470"/>
                  </a:cubicBezTo>
                  <a:cubicBezTo>
                    <a:pt x="737" y="282"/>
                    <a:pt x="584" y="129"/>
                    <a:pt x="396" y="129"/>
                  </a:cubicBezTo>
                  <a:cubicBezTo>
                    <a:pt x="353" y="129"/>
                    <a:pt x="310" y="137"/>
                    <a:pt x="269" y="153"/>
                  </a:cubicBezTo>
                  <a:cubicBezTo>
                    <a:pt x="265" y="155"/>
                    <a:pt x="260" y="155"/>
                    <a:pt x="256" y="153"/>
                  </a:cubicBezTo>
                  <a:lnTo>
                    <a:pt x="49" y="51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" name="ExtraShape3"/>
            <p:cNvSpPr/>
            <p:nvPr/>
          </p:nvSpPr>
          <p:spPr bwMode="auto">
            <a:xfrm>
              <a:off x="4594875" y="2287410"/>
              <a:ext cx="213211" cy="365241"/>
            </a:xfrm>
            <a:custGeom>
              <a:avLst/>
              <a:gdLst>
                <a:gd name="T0" fmla="*/ 230 w 230"/>
                <a:gd name="T1" fmla="*/ 394 h 394"/>
                <a:gd name="T2" fmla="*/ 58 w 230"/>
                <a:gd name="T3" fmla="*/ 394 h 394"/>
                <a:gd name="T4" fmla="*/ 0 w 230"/>
                <a:gd name="T5" fmla="*/ 0 h 394"/>
                <a:gd name="T6" fmla="*/ 172 w 230"/>
                <a:gd name="T7" fmla="*/ 0 h 394"/>
                <a:gd name="T8" fmla="*/ 230 w 230"/>
                <a:gd name="T9" fmla="*/ 394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0" h="394">
                  <a:moveTo>
                    <a:pt x="230" y="394"/>
                  </a:moveTo>
                  <a:lnTo>
                    <a:pt x="58" y="394"/>
                  </a:lnTo>
                  <a:lnTo>
                    <a:pt x="0" y="0"/>
                  </a:lnTo>
                  <a:lnTo>
                    <a:pt x="172" y="0"/>
                  </a:lnTo>
                  <a:lnTo>
                    <a:pt x="230" y="394"/>
                  </a:lnTo>
                  <a:close/>
                </a:path>
              </a:pathLst>
            </a:custGeom>
            <a:solidFill>
              <a:srgbClr val="F9A2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" name="ExtraShape4"/>
            <p:cNvSpPr/>
            <p:nvPr/>
          </p:nvSpPr>
          <p:spPr bwMode="auto">
            <a:xfrm>
              <a:off x="5122342" y="1981498"/>
              <a:ext cx="271614" cy="334650"/>
            </a:xfrm>
            <a:custGeom>
              <a:avLst/>
              <a:gdLst>
                <a:gd name="T0" fmla="*/ 141 w 141"/>
                <a:gd name="T1" fmla="*/ 138 h 174"/>
                <a:gd name="T2" fmla="*/ 105 w 141"/>
                <a:gd name="T3" fmla="*/ 174 h 174"/>
                <a:gd name="T4" fmla="*/ 36 w 141"/>
                <a:gd name="T5" fmla="*/ 174 h 174"/>
                <a:gd name="T6" fmla="*/ 0 w 141"/>
                <a:gd name="T7" fmla="*/ 138 h 174"/>
                <a:gd name="T8" fmla="*/ 0 w 141"/>
                <a:gd name="T9" fmla="*/ 35 h 174"/>
                <a:gd name="T10" fmla="*/ 36 w 141"/>
                <a:gd name="T11" fmla="*/ 0 h 174"/>
                <a:gd name="T12" fmla="*/ 105 w 141"/>
                <a:gd name="T13" fmla="*/ 0 h 174"/>
                <a:gd name="T14" fmla="*/ 141 w 141"/>
                <a:gd name="T15" fmla="*/ 35 h 174"/>
                <a:gd name="T16" fmla="*/ 141 w 141"/>
                <a:gd name="T17" fmla="*/ 138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1" h="174">
                  <a:moveTo>
                    <a:pt x="141" y="138"/>
                  </a:moveTo>
                  <a:cubicBezTo>
                    <a:pt x="141" y="158"/>
                    <a:pt x="125" y="174"/>
                    <a:pt x="105" y="174"/>
                  </a:cubicBezTo>
                  <a:cubicBezTo>
                    <a:pt x="36" y="174"/>
                    <a:pt x="36" y="174"/>
                    <a:pt x="36" y="174"/>
                  </a:cubicBezTo>
                  <a:cubicBezTo>
                    <a:pt x="16" y="174"/>
                    <a:pt x="0" y="158"/>
                    <a:pt x="0" y="13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25" y="0"/>
                    <a:pt x="141" y="16"/>
                    <a:pt x="141" y="35"/>
                  </a:cubicBezTo>
                  <a:lnTo>
                    <a:pt x="141" y="138"/>
                  </a:lnTo>
                  <a:close/>
                </a:path>
              </a:pathLst>
            </a:custGeom>
            <a:solidFill>
              <a:srgbClr val="82D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" name="ExtraShape5"/>
            <p:cNvSpPr/>
            <p:nvPr/>
          </p:nvSpPr>
          <p:spPr bwMode="auto">
            <a:xfrm>
              <a:off x="5091751" y="1950906"/>
              <a:ext cx="332796" cy="396760"/>
            </a:xfrm>
            <a:custGeom>
              <a:avLst/>
              <a:gdLst>
                <a:gd name="T0" fmla="*/ 121 w 173"/>
                <a:gd name="T1" fmla="*/ 206 h 206"/>
                <a:gd name="T2" fmla="*/ 52 w 173"/>
                <a:gd name="T3" fmla="*/ 206 h 206"/>
                <a:gd name="T4" fmla="*/ 0 w 173"/>
                <a:gd name="T5" fmla="*/ 154 h 206"/>
                <a:gd name="T6" fmla="*/ 0 w 173"/>
                <a:gd name="T7" fmla="*/ 51 h 206"/>
                <a:gd name="T8" fmla="*/ 52 w 173"/>
                <a:gd name="T9" fmla="*/ 0 h 206"/>
                <a:gd name="T10" fmla="*/ 121 w 173"/>
                <a:gd name="T11" fmla="*/ 0 h 206"/>
                <a:gd name="T12" fmla="*/ 173 w 173"/>
                <a:gd name="T13" fmla="*/ 51 h 206"/>
                <a:gd name="T14" fmla="*/ 173 w 173"/>
                <a:gd name="T15" fmla="*/ 154 h 206"/>
                <a:gd name="T16" fmla="*/ 121 w 173"/>
                <a:gd name="T17" fmla="*/ 206 h 206"/>
                <a:gd name="T18" fmla="*/ 52 w 173"/>
                <a:gd name="T19" fmla="*/ 32 h 206"/>
                <a:gd name="T20" fmla="*/ 32 w 173"/>
                <a:gd name="T21" fmla="*/ 51 h 206"/>
                <a:gd name="T22" fmla="*/ 32 w 173"/>
                <a:gd name="T23" fmla="*/ 154 h 206"/>
                <a:gd name="T24" fmla="*/ 52 w 173"/>
                <a:gd name="T25" fmla="*/ 174 h 206"/>
                <a:gd name="T26" fmla="*/ 121 w 173"/>
                <a:gd name="T27" fmla="*/ 174 h 206"/>
                <a:gd name="T28" fmla="*/ 141 w 173"/>
                <a:gd name="T29" fmla="*/ 154 h 206"/>
                <a:gd name="T30" fmla="*/ 141 w 173"/>
                <a:gd name="T31" fmla="*/ 51 h 206"/>
                <a:gd name="T32" fmla="*/ 121 w 173"/>
                <a:gd name="T33" fmla="*/ 32 h 206"/>
                <a:gd name="T34" fmla="*/ 52 w 173"/>
                <a:gd name="T35" fmla="*/ 32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3" h="206">
                  <a:moveTo>
                    <a:pt x="121" y="206"/>
                  </a:moveTo>
                  <a:cubicBezTo>
                    <a:pt x="52" y="206"/>
                    <a:pt x="52" y="206"/>
                    <a:pt x="52" y="206"/>
                  </a:cubicBezTo>
                  <a:cubicBezTo>
                    <a:pt x="24" y="206"/>
                    <a:pt x="0" y="183"/>
                    <a:pt x="0" y="154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4" y="0"/>
                    <a:pt x="52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50" y="0"/>
                    <a:pt x="173" y="23"/>
                    <a:pt x="173" y="51"/>
                  </a:cubicBezTo>
                  <a:cubicBezTo>
                    <a:pt x="173" y="154"/>
                    <a:pt x="173" y="154"/>
                    <a:pt x="173" y="154"/>
                  </a:cubicBezTo>
                  <a:cubicBezTo>
                    <a:pt x="173" y="183"/>
                    <a:pt x="150" y="206"/>
                    <a:pt x="121" y="206"/>
                  </a:cubicBezTo>
                  <a:close/>
                  <a:moveTo>
                    <a:pt x="52" y="32"/>
                  </a:moveTo>
                  <a:cubicBezTo>
                    <a:pt x="41" y="32"/>
                    <a:pt x="32" y="40"/>
                    <a:pt x="32" y="51"/>
                  </a:cubicBezTo>
                  <a:cubicBezTo>
                    <a:pt x="32" y="154"/>
                    <a:pt x="32" y="154"/>
                    <a:pt x="32" y="154"/>
                  </a:cubicBezTo>
                  <a:cubicBezTo>
                    <a:pt x="32" y="165"/>
                    <a:pt x="41" y="174"/>
                    <a:pt x="52" y="174"/>
                  </a:cubicBezTo>
                  <a:cubicBezTo>
                    <a:pt x="121" y="174"/>
                    <a:pt x="121" y="174"/>
                    <a:pt x="121" y="174"/>
                  </a:cubicBezTo>
                  <a:cubicBezTo>
                    <a:pt x="132" y="174"/>
                    <a:pt x="141" y="165"/>
                    <a:pt x="141" y="154"/>
                  </a:cubicBezTo>
                  <a:cubicBezTo>
                    <a:pt x="141" y="51"/>
                    <a:pt x="141" y="51"/>
                    <a:pt x="141" y="51"/>
                  </a:cubicBezTo>
                  <a:cubicBezTo>
                    <a:pt x="141" y="40"/>
                    <a:pt x="132" y="32"/>
                    <a:pt x="121" y="32"/>
                  </a:cubicBezTo>
                  <a:lnTo>
                    <a:pt x="52" y="3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" name="ExtraShape6"/>
            <p:cNvSpPr/>
            <p:nvPr/>
          </p:nvSpPr>
          <p:spPr bwMode="auto">
            <a:xfrm>
              <a:off x="4561502" y="2256819"/>
              <a:ext cx="279956" cy="427352"/>
            </a:xfrm>
            <a:custGeom>
              <a:avLst/>
              <a:gdLst>
                <a:gd name="T0" fmla="*/ 128 w 145"/>
                <a:gd name="T1" fmla="*/ 222 h 222"/>
                <a:gd name="T2" fmla="*/ 45 w 145"/>
                <a:gd name="T3" fmla="*/ 222 h 222"/>
                <a:gd name="T4" fmla="*/ 29 w 145"/>
                <a:gd name="T5" fmla="*/ 209 h 222"/>
                <a:gd name="T6" fmla="*/ 1 w 145"/>
                <a:gd name="T7" fmla="*/ 19 h 222"/>
                <a:gd name="T8" fmla="*/ 5 w 145"/>
                <a:gd name="T9" fmla="*/ 6 h 222"/>
                <a:gd name="T10" fmla="*/ 17 w 145"/>
                <a:gd name="T11" fmla="*/ 0 h 222"/>
                <a:gd name="T12" fmla="*/ 100 w 145"/>
                <a:gd name="T13" fmla="*/ 0 h 222"/>
                <a:gd name="T14" fmla="*/ 116 w 145"/>
                <a:gd name="T15" fmla="*/ 14 h 222"/>
                <a:gd name="T16" fmla="*/ 144 w 145"/>
                <a:gd name="T17" fmla="*/ 204 h 222"/>
                <a:gd name="T18" fmla="*/ 140 w 145"/>
                <a:gd name="T19" fmla="*/ 217 h 222"/>
                <a:gd name="T20" fmla="*/ 128 w 145"/>
                <a:gd name="T21" fmla="*/ 222 h 222"/>
                <a:gd name="T22" fmla="*/ 59 w 145"/>
                <a:gd name="T23" fmla="*/ 190 h 222"/>
                <a:gd name="T24" fmla="*/ 110 w 145"/>
                <a:gd name="T25" fmla="*/ 190 h 222"/>
                <a:gd name="T26" fmla="*/ 86 w 145"/>
                <a:gd name="T27" fmla="*/ 32 h 222"/>
                <a:gd name="T28" fmla="*/ 35 w 145"/>
                <a:gd name="T29" fmla="*/ 32 h 222"/>
                <a:gd name="T30" fmla="*/ 59 w 145"/>
                <a:gd name="T31" fmla="*/ 19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22">
                  <a:moveTo>
                    <a:pt x="128" y="222"/>
                  </a:moveTo>
                  <a:cubicBezTo>
                    <a:pt x="45" y="222"/>
                    <a:pt x="45" y="222"/>
                    <a:pt x="45" y="222"/>
                  </a:cubicBezTo>
                  <a:cubicBezTo>
                    <a:pt x="37" y="222"/>
                    <a:pt x="30" y="217"/>
                    <a:pt x="29" y="20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0" y="14"/>
                    <a:pt x="2" y="9"/>
                    <a:pt x="5" y="6"/>
                  </a:cubicBezTo>
                  <a:cubicBezTo>
                    <a:pt x="8" y="2"/>
                    <a:pt x="12" y="0"/>
                    <a:pt x="17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8" y="0"/>
                    <a:pt x="115" y="6"/>
                    <a:pt x="116" y="14"/>
                  </a:cubicBezTo>
                  <a:cubicBezTo>
                    <a:pt x="144" y="204"/>
                    <a:pt x="144" y="204"/>
                    <a:pt x="144" y="204"/>
                  </a:cubicBezTo>
                  <a:cubicBezTo>
                    <a:pt x="145" y="209"/>
                    <a:pt x="143" y="213"/>
                    <a:pt x="140" y="217"/>
                  </a:cubicBezTo>
                  <a:cubicBezTo>
                    <a:pt x="137" y="220"/>
                    <a:pt x="133" y="222"/>
                    <a:pt x="128" y="222"/>
                  </a:cubicBezTo>
                  <a:close/>
                  <a:moveTo>
                    <a:pt x="59" y="190"/>
                  </a:moveTo>
                  <a:cubicBezTo>
                    <a:pt x="110" y="190"/>
                    <a:pt x="110" y="190"/>
                    <a:pt x="110" y="190"/>
                  </a:cubicBezTo>
                  <a:cubicBezTo>
                    <a:pt x="86" y="32"/>
                    <a:pt x="86" y="32"/>
                    <a:pt x="86" y="32"/>
                  </a:cubicBezTo>
                  <a:cubicBezTo>
                    <a:pt x="35" y="32"/>
                    <a:pt x="35" y="32"/>
                    <a:pt x="35" y="32"/>
                  </a:cubicBezTo>
                  <a:lnTo>
                    <a:pt x="59" y="19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" name="ExtraShape7"/>
            <p:cNvSpPr/>
            <p:nvPr/>
          </p:nvSpPr>
          <p:spPr bwMode="auto">
            <a:xfrm>
              <a:off x="5135321" y="1703395"/>
              <a:ext cx="154811" cy="889928"/>
            </a:xfrm>
            <a:custGeom>
              <a:avLst/>
              <a:gdLst>
                <a:gd name="T0" fmla="*/ 44 w 80"/>
                <a:gd name="T1" fmla="*/ 0 h 463"/>
                <a:gd name="T2" fmla="*/ 36 w 80"/>
                <a:gd name="T3" fmla="*/ 0 h 463"/>
                <a:gd name="T4" fmla="*/ 0 w 80"/>
                <a:gd name="T5" fmla="*/ 36 h 463"/>
                <a:gd name="T6" fmla="*/ 0 w 80"/>
                <a:gd name="T7" fmla="*/ 428 h 463"/>
                <a:gd name="T8" fmla="*/ 36 w 80"/>
                <a:gd name="T9" fmla="*/ 463 h 463"/>
                <a:gd name="T10" fmla="*/ 44 w 80"/>
                <a:gd name="T11" fmla="*/ 463 h 463"/>
                <a:gd name="T12" fmla="*/ 80 w 80"/>
                <a:gd name="T13" fmla="*/ 428 h 463"/>
                <a:gd name="T14" fmla="*/ 80 w 80"/>
                <a:gd name="T15" fmla="*/ 36 h 463"/>
                <a:gd name="T16" fmla="*/ 44 w 80"/>
                <a:gd name="T17" fmla="*/ 0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463">
                  <a:moveTo>
                    <a:pt x="44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16" y="0"/>
                    <a:pt x="0" y="16"/>
                    <a:pt x="0" y="36"/>
                  </a:cubicBezTo>
                  <a:cubicBezTo>
                    <a:pt x="0" y="428"/>
                    <a:pt x="0" y="428"/>
                    <a:pt x="0" y="428"/>
                  </a:cubicBezTo>
                  <a:cubicBezTo>
                    <a:pt x="0" y="447"/>
                    <a:pt x="16" y="463"/>
                    <a:pt x="36" y="463"/>
                  </a:cubicBezTo>
                  <a:cubicBezTo>
                    <a:pt x="44" y="463"/>
                    <a:pt x="44" y="463"/>
                    <a:pt x="44" y="463"/>
                  </a:cubicBezTo>
                  <a:cubicBezTo>
                    <a:pt x="64" y="463"/>
                    <a:pt x="80" y="447"/>
                    <a:pt x="80" y="428"/>
                  </a:cubicBezTo>
                  <a:cubicBezTo>
                    <a:pt x="80" y="36"/>
                    <a:pt x="80" y="36"/>
                    <a:pt x="80" y="36"/>
                  </a:cubicBezTo>
                  <a:cubicBezTo>
                    <a:pt x="80" y="16"/>
                    <a:pt x="64" y="0"/>
                    <a:pt x="44" y="0"/>
                  </a:cubicBezTo>
                  <a:close/>
                </a:path>
              </a:pathLst>
            </a:custGeom>
            <a:solidFill>
              <a:srgbClr val="F8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" name="ExtraShape8"/>
            <p:cNvSpPr/>
            <p:nvPr/>
          </p:nvSpPr>
          <p:spPr bwMode="auto">
            <a:xfrm>
              <a:off x="5104728" y="1671877"/>
              <a:ext cx="215993" cy="952037"/>
            </a:xfrm>
            <a:custGeom>
              <a:avLst/>
              <a:gdLst>
                <a:gd name="T0" fmla="*/ 60 w 112"/>
                <a:gd name="T1" fmla="*/ 495 h 495"/>
                <a:gd name="T2" fmla="*/ 52 w 112"/>
                <a:gd name="T3" fmla="*/ 495 h 495"/>
                <a:gd name="T4" fmla="*/ 0 w 112"/>
                <a:gd name="T5" fmla="*/ 444 h 495"/>
                <a:gd name="T6" fmla="*/ 0 w 112"/>
                <a:gd name="T7" fmla="*/ 52 h 495"/>
                <a:gd name="T8" fmla="*/ 52 w 112"/>
                <a:gd name="T9" fmla="*/ 0 h 495"/>
                <a:gd name="T10" fmla="*/ 60 w 112"/>
                <a:gd name="T11" fmla="*/ 0 h 495"/>
                <a:gd name="T12" fmla="*/ 112 w 112"/>
                <a:gd name="T13" fmla="*/ 52 h 495"/>
                <a:gd name="T14" fmla="*/ 112 w 112"/>
                <a:gd name="T15" fmla="*/ 444 h 495"/>
                <a:gd name="T16" fmla="*/ 60 w 112"/>
                <a:gd name="T17" fmla="*/ 495 h 495"/>
                <a:gd name="T18" fmla="*/ 52 w 112"/>
                <a:gd name="T19" fmla="*/ 32 h 495"/>
                <a:gd name="T20" fmla="*/ 32 w 112"/>
                <a:gd name="T21" fmla="*/ 52 h 495"/>
                <a:gd name="T22" fmla="*/ 32 w 112"/>
                <a:gd name="T23" fmla="*/ 444 h 495"/>
                <a:gd name="T24" fmla="*/ 52 w 112"/>
                <a:gd name="T25" fmla="*/ 463 h 495"/>
                <a:gd name="T26" fmla="*/ 60 w 112"/>
                <a:gd name="T27" fmla="*/ 463 h 495"/>
                <a:gd name="T28" fmla="*/ 80 w 112"/>
                <a:gd name="T29" fmla="*/ 444 h 495"/>
                <a:gd name="T30" fmla="*/ 80 w 112"/>
                <a:gd name="T31" fmla="*/ 52 h 495"/>
                <a:gd name="T32" fmla="*/ 60 w 112"/>
                <a:gd name="T33" fmla="*/ 32 h 495"/>
                <a:gd name="T34" fmla="*/ 52 w 112"/>
                <a:gd name="T35" fmla="*/ 32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2" h="495">
                  <a:moveTo>
                    <a:pt x="60" y="495"/>
                  </a:moveTo>
                  <a:cubicBezTo>
                    <a:pt x="52" y="495"/>
                    <a:pt x="52" y="495"/>
                    <a:pt x="52" y="495"/>
                  </a:cubicBezTo>
                  <a:cubicBezTo>
                    <a:pt x="23" y="495"/>
                    <a:pt x="0" y="472"/>
                    <a:pt x="0" y="444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23"/>
                    <a:pt x="23" y="0"/>
                    <a:pt x="52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89" y="0"/>
                    <a:pt x="112" y="23"/>
                    <a:pt x="112" y="52"/>
                  </a:cubicBezTo>
                  <a:cubicBezTo>
                    <a:pt x="112" y="444"/>
                    <a:pt x="112" y="444"/>
                    <a:pt x="112" y="444"/>
                  </a:cubicBezTo>
                  <a:cubicBezTo>
                    <a:pt x="112" y="472"/>
                    <a:pt x="89" y="495"/>
                    <a:pt x="60" y="495"/>
                  </a:cubicBezTo>
                  <a:close/>
                  <a:moveTo>
                    <a:pt x="52" y="32"/>
                  </a:moveTo>
                  <a:cubicBezTo>
                    <a:pt x="41" y="32"/>
                    <a:pt x="32" y="41"/>
                    <a:pt x="32" y="52"/>
                  </a:cubicBezTo>
                  <a:cubicBezTo>
                    <a:pt x="32" y="444"/>
                    <a:pt x="32" y="444"/>
                    <a:pt x="32" y="444"/>
                  </a:cubicBezTo>
                  <a:cubicBezTo>
                    <a:pt x="32" y="454"/>
                    <a:pt x="41" y="463"/>
                    <a:pt x="52" y="463"/>
                  </a:cubicBezTo>
                  <a:cubicBezTo>
                    <a:pt x="60" y="463"/>
                    <a:pt x="60" y="463"/>
                    <a:pt x="60" y="463"/>
                  </a:cubicBezTo>
                  <a:cubicBezTo>
                    <a:pt x="71" y="463"/>
                    <a:pt x="80" y="454"/>
                    <a:pt x="80" y="444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41"/>
                    <a:pt x="71" y="32"/>
                    <a:pt x="60" y="32"/>
                  </a:cubicBezTo>
                  <a:lnTo>
                    <a:pt x="52" y="3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" name="ExtraShape9"/>
            <p:cNvSpPr/>
            <p:nvPr/>
          </p:nvSpPr>
          <p:spPr bwMode="auto">
            <a:xfrm>
              <a:off x="4825699" y="1768285"/>
              <a:ext cx="309620" cy="762001"/>
            </a:xfrm>
            <a:custGeom>
              <a:avLst/>
              <a:gdLst>
                <a:gd name="T0" fmla="*/ 0 w 334"/>
                <a:gd name="T1" fmla="*/ 575 h 822"/>
                <a:gd name="T2" fmla="*/ 334 w 334"/>
                <a:gd name="T3" fmla="*/ 822 h 822"/>
                <a:gd name="T4" fmla="*/ 334 w 334"/>
                <a:gd name="T5" fmla="*/ 0 h 822"/>
                <a:gd name="T6" fmla="*/ 0 w 334"/>
                <a:gd name="T7" fmla="*/ 245 h 822"/>
                <a:gd name="T8" fmla="*/ 0 w 334"/>
                <a:gd name="T9" fmla="*/ 575 h 8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4" h="822">
                  <a:moveTo>
                    <a:pt x="0" y="575"/>
                  </a:moveTo>
                  <a:lnTo>
                    <a:pt x="334" y="822"/>
                  </a:lnTo>
                  <a:lnTo>
                    <a:pt x="334" y="0"/>
                  </a:lnTo>
                  <a:lnTo>
                    <a:pt x="0" y="245"/>
                  </a:lnTo>
                  <a:lnTo>
                    <a:pt x="0" y="575"/>
                  </a:lnTo>
                  <a:close/>
                </a:path>
              </a:pathLst>
            </a:custGeom>
            <a:solidFill>
              <a:srgbClr val="F9D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" name="ExtraShape1"/>
            <p:cNvSpPr/>
            <p:nvPr/>
          </p:nvSpPr>
          <p:spPr bwMode="auto">
            <a:xfrm>
              <a:off x="6497095" y="1848935"/>
              <a:ext cx="292934" cy="805570"/>
            </a:xfrm>
            <a:custGeom>
              <a:avLst/>
              <a:gdLst>
                <a:gd name="T0" fmla="*/ 152 w 152"/>
                <a:gd name="T1" fmla="*/ 0 h 419"/>
                <a:gd name="T2" fmla="*/ 103 w 152"/>
                <a:gd name="T3" fmla="*/ 11 h 419"/>
                <a:gd name="T4" fmla="*/ 103 w 152"/>
                <a:gd name="T5" fmla="*/ 299 h 419"/>
                <a:gd name="T6" fmla="*/ 59 w 152"/>
                <a:gd name="T7" fmla="*/ 308 h 419"/>
                <a:gd name="T8" fmla="*/ 11 w 152"/>
                <a:gd name="T9" fmla="*/ 385 h 419"/>
                <a:gd name="T10" fmla="*/ 101 w 152"/>
                <a:gd name="T11" fmla="*/ 402 h 419"/>
                <a:gd name="T12" fmla="*/ 152 w 152"/>
                <a:gd name="T13" fmla="*/ 339 h 419"/>
                <a:gd name="T14" fmla="*/ 152 w 152"/>
                <a:gd name="T15" fmla="*/ 339 h 419"/>
                <a:gd name="T16" fmla="*/ 152 w 152"/>
                <a:gd name="T17" fmla="*/ 0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2" h="419">
                  <a:moveTo>
                    <a:pt x="152" y="0"/>
                  </a:moveTo>
                  <a:cubicBezTo>
                    <a:pt x="103" y="11"/>
                    <a:pt x="103" y="11"/>
                    <a:pt x="103" y="11"/>
                  </a:cubicBezTo>
                  <a:cubicBezTo>
                    <a:pt x="103" y="299"/>
                    <a:pt x="103" y="299"/>
                    <a:pt x="103" y="299"/>
                  </a:cubicBezTo>
                  <a:cubicBezTo>
                    <a:pt x="89" y="298"/>
                    <a:pt x="74" y="301"/>
                    <a:pt x="59" y="308"/>
                  </a:cubicBezTo>
                  <a:cubicBezTo>
                    <a:pt x="21" y="325"/>
                    <a:pt x="0" y="359"/>
                    <a:pt x="11" y="385"/>
                  </a:cubicBezTo>
                  <a:cubicBezTo>
                    <a:pt x="23" y="412"/>
                    <a:pt x="63" y="419"/>
                    <a:pt x="101" y="402"/>
                  </a:cubicBezTo>
                  <a:cubicBezTo>
                    <a:pt x="132" y="388"/>
                    <a:pt x="152" y="362"/>
                    <a:pt x="152" y="339"/>
                  </a:cubicBezTo>
                  <a:cubicBezTo>
                    <a:pt x="152" y="339"/>
                    <a:pt x="152" y="339"/>
                    <a:pt x="152" y="339"/>
                  </a:cubicBezTo>
                  <a:cubicBezTo>
                    <a:pt x="152" y="0"/>
                    <a:pt x="152" y="0"/>
                    <a:pt x="152" y="0"/>
                  </a:cubicBezTo>
                  <a:close/>
                </a:path>
              </a:pathLst>
            </a:custGeom>
            <a:solidFill>
              <a:srgbClr val="F8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" name="ExtraShape2"/>
            <p:cNvSpPr/>
            <p:nvPr/>
          </p:nvSpPr>
          <p:spPr bwMode="auto">
            <a:xfrm>
              <a:off x="6480409" y="1816490"/>
              <a:ext cx="340213" cy="853775"/>
            </a:xfrm>
            <a:custGeom>
              <a:avLst/>
              <a:gdLst>
                <a:gd name="T0" fmla="*/ 69 w 177"/>
                <a:gd name="T1" fmla="*/ 444 h 444"/>
                <a:gd name="T2" fmla="*/ 39 w 177"/>
                <a:gd name="T3" fmla="*/ 439 h 444"/>
                <a:gd name="T4" fmla="*/ 6 w 177"/>
                <a:gd name="T5" fmla="*/ 409 h 444"/>
                <a:gd name="T6" fmla="*/ 6 w 177"/>
                <a:gd name="T7" fmla="*/ 365 h 444"/>
                <a:gd name="T8" fmla="*/ 62 w 177"/>
                <a:gd name="T9" fmla="*/ 310 h 444"/>
                <a:gd name="T10" fmla="*/ 96 w 177"/>
                <a:gd name="T11" fmla="*/ 300 h 444"/>
                <a:gd name="T12" fmla="*/ 96 w 177"/>
                <a:gd name="T13" fmla="*/ 28 h 444"/>
                <a:gd name="T14" fmla="*/ 108 w 177"/>
                <a:gd name="T15" fmla="*/ 12 h 444"/>
                <a:gd name="T16" fmla="*/ 157 w 177"/>
                <a:gd name="T17" fmla="*/ 1 h 444"/>
                <a:gd name="T18" fmla="*/ 171 w 177"/>
                <a:gd name="T19" fmla="*/ 4 h 444"/>
                <a:gd name="T20" fmla="*/ 177 w 177"/>
                <a:gd name="T21" fmla="*/ 17 h 444"/>
                <a:gd name="T22" fmla="*/ 177 w 177"/>
                <a:gd name="T23" fmla="*/ 356 h 444"/>
                <a:gd name="T24" fmla="*/ 177 w 177"/>
                <a:gd name="T25" fmla="*/ 357 h 444"/>
                <a:gd name="T26" fmla="*/ 117 w 177"/>
                <a:gd name="T27" fmla="*/ 434 h 444"/>
                <a:gd name="T28" fmla="*/ 69 w 177"/>
                <a:gd name="T29" fmla="*/ 444 h 444"/>
                <a:gd name="T30" fmla="*/ 109 w 177"/>
                <a:gd name="T31" fmla="*/ 332 h 444"/>
                <a:gd name="T32" fmla="*/ 75 w 177"/>
                <a:gd name="T33" fmla="*/ 339 h 444"/>
                <a:gd name="T34" fmla="*/ 35 w 177"/>
                <a:gd name="T35" fmla="*/ 376 h 444"/>
                <a:gd name="T36" fmla="*/ 35 w 177"/>
                <a:gd name="T37" fmla="*/ 396 h 444"/>
                <a:gd name="T38" fmla="*/ 50 w 177"/>
                <a:gd name="T39" fmla="*/ 409 h 444"/>
                <a:gd name="T40" fmla="*/ 104 w 177"/>
                <a:gd name="T41" fmla="*/ 404 h 444"/>
                <a:gd name="T42" fmla="*/ 145 w 177"/>
                <a:gd name="T43" fmla="*/ 356 h 444"/>
                <a:gd name="T44" fmla="*/ 145 w 177"/>
                <a:gd name="T45" fmla="*/ 354 h 444"/>
                <a:gd name="T46" fmla="*/ 145 w 177"/>
                <a:gd name="T47" fmla="*/ 37 h 444"/>
                <a:gd name="T48" fmla="*/ 128 w 177"/>
                <a:gd name="T49" fmla="*/ 41 h 444"/>
                <a:gd name="T50" fmla="*/ 128 w 177"/>
                <a:gd name="T51" fmla="*/ 316 h 444"/>
                <a:gd name="T52" fmla="*/ 123 w 177"/>
                <a:gd name="T53" fmla="*/ 327 h 444"/>
                <a:gd name="T54" fmla="*/ 111 w 177"/>
                <a:gd name="T55" fmla="*/ 332 h 444"/>
                <a:gd name="T56" fmla="*/ 109 w 177"/>
                <a:gd name="T57" fmla="*/ 332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77" h="444">
                  <a:moveTo>
                    <a:pt x="69" y="444"/>
                  </a:moveTo>
                  <a:cubicBezTo>
                    <a:pt x="58" y="444"/>
                    <a:pt x="48" y="442"/>
                    <a:pt x="39" y="439"/>
                  </a:cubicBezTo>
                  <a:cubicBezTo>
                    <a:pt x="23" y="433"/>
                    <a:pt x="12" y="422"/>
                    <a:pt x="6" y="409"/>
                  </a:cubicBezTo>
                  <a:cubicBezTo>
                    <a:pt x="0" y="396"/>
                    <a:pt x="0" y="380"/>
                    <a:pt x="6" y="365"/>
                  </a:cubicBezTo>
                  <a:cubicBezTo>
                    <a:pt x="14" y="342"/>
                    <a:pt x="35" y="322"/>
                    <a:pt x="62" y="310"/>
                  </a:cubicBezTo>
                  <a:cubicBezTo>
                    <a:pt x="73" y="305"/>
                    <a:pt x="84" y="302"/>
                    <a:pt x="96" y="300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21"/>
                    <a:pt x="101" y="14"/>
                    <a:pt x="108" y="12"/>
                  </a:cubicBezTo>
                  <a:cubicBezTo>
                    <a:pt x="157" y="1"/>
                    <a:pt x="157" y="1"/>
                    <a:pt x="157" y="1"/>
                  </a:cubicBezTo>
                  <a:cubicBezTo>
                    <a:pt x="162" y="0"/>
                    <a:pt x="167" y="1"/>
                    <a:pt x="171" y="4"/>
                  </a:cubicBezTo>
                  <a:cubicBezTo>
                    <a:pt x="175" y="7"/>
                    <a:pt x="177" y="12"/>
                    <a:pt x="177" y="17"/>
                  </a:cubicBezTo>
                  <a:cubicBezTo>
                    <a:pt x="177" y="356"/>
                    <a:pt x="177" y="356"/>
                    <a:pt x="177" y="356"/>
                  </a:cubicBezTo>
                  <a:cubicBezTo>
                    <a:pt x="177" y="356"/>
                    <a:pt x="177" y="357"/>
                    <a:pt x="177" y="357"/>
                  </a:cubicBezTo>
                  <a:cubicBezTo>
                    <a:pt x="177" y="387"/>
                    <a:pt x="153" y="418"/>
                    <a:pt x="117" y="434"/>
                  </a:cubicBezTo>
                  <a:cubicBezTo>
                    <a:pt x="101" y="441"/>
                    <a:pt x="85" y="444"/>
                    <a:pt x="69" y="444"/>
                  </a:cubicBezTo>
                  <a:close/>
                  <a:moveTo>
                    <a:pt x="109" y="332"/>
                  </a:moveTo>
                  <a:cubicBezTo>
                    <a:pt x="98" y="332"/>
                    <a:pt x="86" y="334"/>
                    <a:pt x="75" y="339"/>
                  </a:cubicBezTo>
                  <a:cubicBezTo>
                    <a:pt x="56" y="348"/>
                    <a:pt x="41" y="362"/>
                    <a:pt x="35" y="376"/>
                  </a:cubicBezTo>
                  <a:cubicBezTo>
                    <a:pt x="34" y="381"/>
                    <a:pt x="32" y="389"/>
                    <a:pt x="35" y="396"/>
                  </a:cubicBezTo>
                  <a:cubicBezTo>
                    <a:pt x="38" y="403"/>
                    <a:pt x="45" y="407"/>
                    <a:pt x="50" y="409"/>
                  </a:cubicBezTo>
                  <a:cubicBezTo>
                    <a:pt x="65" y="414"/>
                    <a:pt x="85" y="413"/>
                    <a:pt x="104" y="404"/>
                  </a:cubicBezTo>
                  <a:cubicBezTo>
                    <a:pt x="131" y="392"/>
                    <a:pt x="145" y="371"/>
                    <a:pt x="145" y="356"/>
                  </a:cubicBezTo>
                  <a:cubicBezTo>
                    <a:pt x="145" y="355"/>
                    <a:pt x="145" y="355"/>
                    <a:pt x="145" y="354"/>
                  </a:cubicBezTo>
                  <a:cubicBezTo>
                    <a:pt x="145" y="37"/>
                    <a:pt x="145" y="37"/>
                    <a:pt x="145" y="37"/>
                  </a:cubicBezTo>
                  <a:cubicBezTo>
                    <a:pt x="128" y="41"/>
                    <a:pt x="128" y="41"/>
                    <a:pt x="128" y="41"/>
                  </a:cubicBezTo>
                  <a:cubicBezTo>
                    <a:pt x="128" y="316"/>
                    <a:pt x="128" y="316"/>
                    <a:pt x="128" y="316"/>
                  </a:cubicBezTo>
                  <a:cubicBezTo>
                    <a:pt x="128" y="320"/>
                    <a:pt x="126" y="324"/>
                    <a:pt x="123" y="327"/>
                  </a:cubicBezTo>
                  <a:cubicBezTo>
                    <a:pt x="120" y="330"/>
                    <a:pt x="116" y="332"/>
                    <a:pt x="111" y="332"/>
                  </a:cubicBezTo>
                  <a:cubicBezTo>
                    <a:pt x="110" y="332"/>
                    <a:pt x="109" y="332"/>
                    <a:pt x="109" y="33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" name="ExtraShape3"/>
            <p:cNvSpPr/>
            <p:nvPr/>
          </p:nvSpPr>
          <p:spPr bwMode="auto">
            <a:xfrm>
              <a:off x="6896636" y="1755308"/>
              <a:ext cx="293861" cy="820403"/>
            </a:xfrm>
            <a:custGeom>
              <a:avLst/>
              <a:gdLst>
                <a:gd name="T0" fmla="*/ 152 w 153"/>
                <a:gd name="T1" fmla="*/ 0 h 427"/>
                <a:gd name="T2" fmla="*/ 103 w 153"/>
                <a:gd name="T3" fmla="*/ 12 h 427"/>
                <a:gd name="T4" fmla="*/ 103 w 153"/>
                <a:gd name="T5" fmla="*/ 307 h 427"/>
                <a:gd name="T6" fmla="*/ 59 w 153"/>
                <a:gd name="T7" fmla="*/ 316 h 427"/>
                <a:gd name="T8" fmla="*/ 12 w 153"/>
                <a:gd name="T9" fmla="*/ 394 h 427"/>
                <a:gd name="T10" fmla="*/ 101 w 153"/>
                <a:gd name="T11" fmla="*/ 411 h 427"/>
                <a:gd name="T12" fmla="*/ 152 w 153"/>
                <a:gd name="T13" fmla="*/ 347 h 427"/>
                <a:gd name="T14" fmla="*/ 152 w 153"/>
                <a:gd name="T15" fmla="*/ 347 h 427"/>
                <a:gd name="T16" fmla="*/ 152 w 153"/>
                <a:gd name="T17" fmla="*/ 0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3" h="427">
                  <a:moveTo>
                    <a:pt x="152" y="0"/>
                  </a:moveTo>
                  <a:cubicBezTo>
                    <a:pt x="103" y="12"/>
                    <a:pt x="103" y="12"/>
                    <a:pt x="103" y="12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89" y="307"/>
                    <a:pt x="74" y="310"/>
                    <a:pt x="59" y="316"/>
                  </a:cubicBezTo>
                  <a:cubicBezTo>
                    <a:pt x="21" y="333"/>
                    <a:pt x="0" y="368"/>
                    <a:pt x="12" y="394"/>
                  </a:cubicBezTo>
                  <a:cubicBezTo>
                    <a:pt x="23" y="420"/>
                    <a:pt x="63" y="427"/>
                    <a:pt x="101" y="411"/>
                  </a:cubicBezTo>
                  <a:cubicBezTo>
                    <a:pt x="133" y="397"/>
                    <a:pt x="153" y="370"/>
                    <a:pt x="152" y="347"/>
                  </a:cubicBezTo>
                  <a:cubicBezTo>
                    <a:pt x="152" y="347"/>
                    <a:pt x="152" y="347"/>
                    <a:pt x="152" y="347"/>
                  </a:cubicBezTo>
                  <a:cubicBezTo>
                    <a:pt x="152" y="0"/>
                    <a:pt x="152" y="0"/>
                    <a:pt x="152" y="0"/>
                  </a:cubicBezTo>
                  <a:close/>
                </a:path>
              </a:pathLst>
            </a:custGeom>
            <a:solidFill>
              <a:srgbClr val="F8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" name="ExtraShape4"/>
            <p:cNvSpPr/>
            <p:nvPr/>
          </p:nvSpPr>
          <p:spPr bwMode="auto">
            <a:xfrm>
              <a:off x="6879022" y="1723790"/>
              <a:ext cx="342992" cy="869534"/>
            </a:xfrm>
            <a:custGeom>
              <a:avLst/>
              <a:gdLst>
                <a:gd name="T0" fmla="*/ 69 w 178"/>
                <a:gd name="T1" fmla="*/ 452 h 452"/>
                <a:gd name="T2" fmla="*/ 39 w 178"/>
                <a:gd name="T3" fmla="*/ 446 h 452"/>
                <a:gd name="T4" fmla="*/ 6 w 178"/>
                <a:gd name="T5" fmla="*/ 416 h 452"/>
                <a:gd name="T6" fmla="*/ 6 w 178"/>
                <a:gd name="T7" fmla="*/ 372 h 452"/>
                <a:gd name="T8" fmla="*/ 62 w 178"/>
                <a:gd name="T9" fmla="*/ 318 h 452"/>
                <a:gd name="T10" fmla="*/ 96 w 178"/>
                <a:gd name="T11" fmla="*/ 308 h 452"/>
                <a:gd name="T12" fmla="*/ 96 w 178"/>
                <a:gd name="T13" fmla="*/ 28 h 452"/>
                <a:gd name="T14" fmla="*/ 108 w 178"/>
                <a:gd name="T15" fmla="*/ 12 h 452"/>
                <a:gd name="T16" fmla="*/ 158 w 178"/>
                <a:gd name="T17" fmla="*/ 1 h 452"/>
                <a:gd name="T18" fmla="*/ 171 w 178"/>
                <a:gd name="T19" fmla="*/ 4 h 452"/>
                <a:gd name="T20" fmla="*/ 177 w 178"/>
                <a:gd name="T21" fmla="*/ 16 h 452"/>
                <a:gd name="T22" fmla="*/ 177 w 178"/>
                <a:gd name="T23" fmla="*/ 363 h 452"/>
                <a:gd name="T24" fmla="*/ 117 w 178"/>
                <a:gd name="T25" fmla="*/ 441 h 452"/>
                <a:gd name="T26" fmla="*/ 69 w 178"/>
                <a:gd name="T27" fmla="*/ 452 h 452"/>
                <a:gd name="T28" fmla="*/ 109 w 178"/>
                <a:gd name="T29" fmla="*/ 339 h 452"/>
                <a:gd name="T30" fmla="*/ 75 w 178"/>
                <a:gd name="T31" fmla="*/ 347 h 452"/>
                <a:gd name="T32" fmla="*/ 36 w 178"/>
                <a:gd name="T33" fmla="*/ 384 h 452"/>
                <a:gd name="T34" fmla="*/ 35 w 178"/>
                <a:gd name="T35" fmla="*/ 403 h 452"/>
                <a:gd name="T36" fmla="*/ 50 w 178"/>
                <a:gd name="T37" fmla="*/ 416 h 452"/>
                <a:gd name="T38" fmla="*/ 104 w 178"/>
                <a:gd name="T39" fmla="*/ 412 h 452"/>
                <a:gd name="T40" fmla="*/ 145 w 178"/>
                <a:gd name="T41" fmla="*/ 363 h 452"/>
                <a:gd name="T42" fmla="*/ 145 w 178"/>
                <a:gd name="T43" fmla="*/ 36 h 452"/>
                <a:gd name="T44" fmla="*/ 128 w 178"/>
                <a:gd name="T45" fmla="*/ 40 h 452"/>
                <a:gd name="T46" fmla="*/ 128 w 178"/>
                <a:gd name="T47" fmla="*/ 323 h 452"/>
                <a:gd name="T48" fmla="*/ 123 w 178"/>
                <a:gd name="T49" fmla="*/ 335 h 452"/>
                <a:gd name="T50" fmla="*/ 111 w 178"/>
                <a:gd name="T51" fmla="*/ 339 h 452"/>
                <a:gd name="T52" fmla="*/ 109 w 178"/>
                <a:gd name="T53" fmla="*/ 339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8" h="452">
                  <a:moveTo>
                    <a:pt x="69" y="452"/>
                  </a:moveTo>
                  <a:cubicBezTo>
                    <a:pt x="59" y="452"/>
                    <a:pt x="48" y="450"/>
                    <a:pt x="39" y="446"/>
                  </a:cubicBezTo>
                  <a:cubicBezTo>
                    <a:pt x="23" y="440"/>
                    <a:pt x="12" y="430"/>
                    <a:pt x="6" y="416"/>
                  </a:cubicBezTo>
                  <a:cubicBezTo>
                    <a:pt x="0" y="403"/>
                    <a:pt x="0" y="388"/>
                    <a:pt x="6" y="372"/>
                  </a:cubicBezTo>
                  <a:cubicBezTo>
                    <a:pt x="14" y="350"/>
                    <a:pt x="35" y="329"/>
                    <a:pt x="62" y="318"/>
                  </a:cubicBezTo>
                  <a:cubicBezTo>
                    <a:pt x="73" y="313"/>
                    <a:pt x="84" y="309"/>
                    <a:pt x="96" y="308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20"/>
                    <a:pt x="101" y="14"/>
                    <a:pt x="108" y="12"/>
                  </a:cubicBezTo>
                  <a:cubicBezTo>
                    <a:pt x="158" y="1"/>
                    <a:pt x="158" y="1"/>
                    <a:pt x="158" y="1"/>
                  </a:cubicBezTo>
                  <a:cubicBezTo>
                    <a:pt x="162" y="0"/>
                    <a:pt x="167" y="1"/>
                    <a:pt x="171" y="4"/>
                  </a:cubicBezTo>
                  <a:cubicBezTo>
                    <a:pt x="175" y="7"/>
                    <a:pt x="177" y="11"/>
                    <a:pt x="177" y="16"/>
                  </a:cubicBezTo>
                  <a:cubicBezTo>
                    <a:pt x="177" y="363"/>
                    <a:pt x="177" y="363"/>
                    <a:pt x="177" y="363"/>
                  </a:cubicBezTo>
                  <a:cubicBezTo>
                    <a:pt x="178" y="393"/>
                    <a:pt x="153" y="425"/>
                    <a:pt x="117" y="441"/>
                  </a:cubicBezTo>
                  <a:cubicBezTo>
                    <a:pt x="101" y="448"/>
                    <a:pt x="85" y="452"/>
                    <a:pt x="69" y="452"/>
                  </a:cubicBezTo>
                  <a:close/>
                  <a:moveTo>
                    <a:pt x="109" y="339"/>
                  </a:moveTo>
                  <a:cubicBezTo>
                    <a:pt x="98" y="339"/>
                    <a:pt x="86" y="342"/>
                    <a:pt x="75" y="347"/>
                  </a:cubicBezTo>
                  <a:cubicBezTo>
                    <a:pt x="56" y="355"/>
                    <a:pt x="41" y="369"/>
                    <a:pt x="36" y="384"/>
                  </a:cubicBezTo>
                  <a:cubicBezTo>
                    <a:pt x="34" y="389"/>
                    <a:pt x="32" y="396"/>
                    <a:pt x="35" y="403"/>
                  </a:cubicBezTo>
                  <a:cubicBezTo>
                    <a:pt x="38" y="411"/>
                    <a:pt x="45" y="414"/>
                    <a:pt x="50" y="416"/>
                  </a:cubicBezTo>
                  <a:cubicBezTo>
                    <a:pt x="65" y="422"/>
                    <a:pt x="85" y="420"/>
                    <a:pt x="104" y="412"/>
                  </a:cubicBezTo>
                  <a:cubicBezTo>
                    <a:pt x="131" y="400"/>
                    <a:pt x="145" y="378"/>
                    <a:pt x="145" y="363"/>
                  </a:cubicBezTo>
                  <a:cubicBezTo>
                    <a:pt x="145" y="36"/>
                    <a:pt x="145" y="36"/>
                    <a:pt x="145" y="36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323"/>
                    <a:pt x="128" y="323"/>
                    <a:pt x="128" y="323"/>
                  </a:cubicBezTo>
                  <a:cubicBezTo>
                    <a:pt x="128" y="327"/>
                    <a:pt x="126" y="332"/>
                    <a:pt x="123" y="335"/>
                  </a:cubicBezTo>
                  <a:cubicBezTo>
                    <a:pt x="120" y="338"/>
                    <a:pt x="116" y="339"/>
                    <a:pt x="111" y="339"/>
                  </a:cubicBezTo>
                  <a:cubicBezTo>
                    <a:pt x="110" y="339"/>
                    <a:pt x="110" y="339"/>
                    <a:pt x="109" y="33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" name="ExtraShape5"/>
            <p:cNvSpPr/>
            <p:nvPr/>
          </p:nvSpPr>
          <p:spPr bwMode="auto">
            <a:xfrm>
              <a:off x="6695476" y="1755308"/>
              <a:ext cx="493168" cy="331869"/>
            </a:xfrm>
            <a:custGeom>
              <a:avLst/>
              <a:gdLst>
                <a:gd name="T0" fmla="*/ 532 w 532"/>
                <a:gd name="T1" fmla="*/ 234 h 358"/>
                <a:gd name="T2" fmla="*/ 0 w 532"/>
                <a:gd name="T3" fmla="*/ 358 h 358"/>
                <a:gd name="T4" fmla="*/ 0 w 532"/>
                <a:gd name="T5" fmla="*/ 124 h 358"/>
                <a:gd name="T6" fmla="*/ 532 w 532"/>
                <a:gd name="T7" fmla="*/ 0 h 358"/>
                <a:gd name="T8" fmla="*/ 532 w 532"/>
                <a:gd name="T9" fmla="*/ 234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2" h="358">
                  <a:moveTo>
                    <a:pt x="532" y="234"/>
                  </a:moveTo>
                  <a:lnTo>
                    <a:pt x="0" y="358"/>
                  </a:lnTo>
                  <a:lnTo>
                    <a:pt x="0" y="124"/>
                  </a:lnTo>
                  <a:lnTo>
                    <a:pt x="532" y="0"/>
                  </a:lnTo>
                  <a:lnTo>
                    <a:pt x="532" y="234"/>
                  </a:lnTo>
                  <a:close/>
                </a:path>
              </a:pathLst>
            </a:custGeom>
            <a:solidFill>
              <a:srgbClr val="F9D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" name="ExtraShape6"/>
            <p:cNvSpPr/>
            <p:nvPr/>
          </p:nvSpPr>
          <p:spPr bwMode="auto">
            <a:xfrm>
              <a:off x="6664884" y="1723790"/>
              <a:ext cx="555279" cy="394906"/>
            </a:xfrm>
            <a:custGeom>
              <a:avLst/>
              <a:gdLst>
                <a:gd name="T0" fmla="*/ 16 w 288"/>
                <a:gd name="T1" fmla="*/ 205 h 205"/>
                <a:gd name="T2" fmla="*/ 6 w 288"/>
                <a:gd name="T3" fmla="*/ 202 h 205"/>
                <a:gd name="T4" fmla="*/ 0 w 288"/>
                <a:gd name="T5" fmla="*/ 189 h 205"/>
                <a:gd name="T6" fmla="*/ 0 w 288"/>
                <a:gd name="T7" fmla="*/ 76 h 205"/>
                <a:gd name="T8" fmla="*/ 12 w 288"/>
                <a:gd name="T9" fmla="*/ 61 h 205"/>
                <a:gd name="T10" fmla="*/ 269 w 288"/>
                <a:gd name="T11" fmla="*/ 1 h 205"/>
                <a:gd name="T12" fmla="*/ 282 w 288"/>
                <a:gd name="T13" fmla="*/ 4 h 205"/>
                <a:gd name="T14" fmla="*/ 288 w 288"/>
                <a:gd name="T15" fmla="*/ 16 h 205"/>
                <a:gd name="T16" fmla="*/ 288 w 288"/>
                <a:gd name="T17" fmla="*/ 129 h 205"/>
                <a:gd name="T18" fmla="*/ 276 w 288"/>
                <a:gd name="T19" fmla="*/ 145 h 205"/>
                <a:gd name="T20" fmla="*/ 19 w 288"/>
                <a:gd name="T21" fmla="*/ 205 h 205"/>
                <a:gd name="T22" fmla="*/ 16 w 288"/>
                <a:gd name="T23" fmla="*/ 205 h 205"/>
                <a:gd name="T24" fmla="*/ 32 w 288"/>
                <a:gd name="T25" fmla="*/ 89 h 205"/>
                <a:gd name="T26" fmla="*/ 32 w 288"/>
                <a:gd name="T27" fmla="*/ 169 h 205"/>
                <a:gd name="T28" fmla="*/ 256 w 288"/>
                <a:gd name="T29" fmla="*/ 117 h 205"/>
                <a:gd name="T30" fmla="*/ 256 w 288"/>
                <a:gd name="T31" fmla="*/ 36 h 205"/>
                <a:gd name="T32" fmla="*/ 32 w 288"/>
                <a:gd name="T33" fmla="*/ 89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8" h="205">
                  <a:moveTo>
                    <a:pt x="16" y="205"/>
                  </a:moveTo>
                  <a:cubicBezTo>
                    <a:pt x="12" y="205"/>
                    <a:pt x="9" y="204"/>
                    <a:pt x="6" y="202"/>
                  </a:cubicBezTo>
                  <a:cubicBezTo>
                    <a:pt x="2" y="199"/>
                    <a:pt x="0" y="194"/>
                    <a:pt x="0" y="189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69"/>
                    <a:pt x="5" y="62"/>
                    <a:pt x="12" y="61"/>
                  </a:cubicBezTo>
                  <a:cubicBezTo>
                    <a:pt x="269" y="1"/>
                    <a:pt x="269" y="1"/>
                    <a:pt x="269" y="1"/>
                  </a:cubicBezTo>
                  <a:cubicBezTo>
                    <a:pt x="273" y="0"/>
                    <a:pt x="278" y="1"/>
                    <a:pt x="282" y="4"/>
                  </a:cubicBezTo>
                  <a:cubicBezTo>
                    <a:pt x="286" y="7"/>
                    <a:pt x="288" y="11"/>
                    <a:pt x="288" y="16"/>
                  </a:cubicBezTo>
                  <a:cubicBezTo>
                    <a:pt x="288" y="129"/>
                    <a:pt x="288" y="129"/>
                    <a:pt x="288" y="129"/>
                  </a:cubicBezTo>
                  <a:cubicBezTo>
                    <a:pt x="288" y="137"/>
                    <a:pt x="283" y="143"/>
                    <a:pt x="276" y="145"/>
                  </a:cubicBezTo>
                  <a:cubicBezTo>
                    <a:pt x="19" y="205"/>
                    <a:pt x="19" y="205"/>
                    <a:pt x="19" y="205"/>
                  </a:cubicBezTo>
                  <a:cubicBezTo>
                    <a:pt x="18" y="205"/>
                    <a:pt x="17" y="205"/>
                    <a:pt x="16" y="205"/>
                  </a:cubicBezTo>
                  <a:close/>
                  <a:moveTo>
                    <a:pt x="32" y="89"/>
                  </a:moveTo>
                  <a:cubicBezTo>
                    <a:pt x="32" y="169"/>
                    <a:pt x="32" y="169"/>
                    <a:pt x="32" y="169"/>
                  </a:cubicBezTo>
                  <a:cubicBezTo>
                    <a:pt x="256" y="117"/>
                    <a:pt x="256" y="117"/>
                    <a:pt x="256" y="117"/>
                  </a:cubicBezTo>
                  <a:cubicBezTo>
                    <a:pt x="256" y="36"/>
                    <a:pt x="256" y="36"/>
                    <a:pt x="256" y="36"/>
                  </a:cubicBezTo>
                  <a:lnTo>
                    <a:pt x="32" y="89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" name="ExtraShape2"/>
            <p:cNvSpPr/>
            <p:nvPr/>
          </p:nvSpPr>
          <p:spPr bwMode="auto">
            <a:xfrm>
              <a:off x="4584677" y="4306392"/>
              <a:ext cx="784249" cy="711942"/>
            </a:xfrm>
            <a:custGeom>
              <a:avLst/>
              <a:gdLst>
                <a:gd name="T0" fmla="*/ 407 w 407"/>
                <a:gd name="T1" fmla="*/ 355 h 370"/>
                <a:gd name="T2" fmla="*/ 392 w 407"/>
                <a:gd name="T3" fmla="*/ 370 h 370"/>
                <a:gd name="T4" fmla="*/ 16 w 407"/>
                <a:gd name="T5" fmla="*/ 370 h 370"/>
                <a:gd name="T6" fmla="*/ 0 w 407"/>
                <a:gd name="T7" fmla="*/ 355 h 370"/>
                <a:gd name="T8" fmla="*/ 0 w 407"/>
                <a:gd name="T9" fmla="*/ 16 h 370"/>
                <a:gd name="T10" fmla="*/ 16 w 407"/>
                <a:gd name="T11" fmla="*/ 0 h 370"/>
                <a:gd name="T12" fmla="*/ 392 w 407"/>
                <a:gd name="T13" fmla="*/ 0 h 370"/>
                <a:gd name="T14" fmla="*/ 407 w 407"/>
                <a:gd name="T15" fmla="*/ 16 h 370"/>
                <a:gd name="T16" fmla="*/ 407 w 407"/>
                <a:gd name="T17" fmla="*/ 355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7" h="370">
                  <a:moveTo>
                    <a:pt x="407" y="355"/>
                  </a:moveTo>
                  <a:cubicBezTo>
                    <a:pt x="407" y="363"/>
                    <a:pt x="400" y="370"/>
                    <a:pt x="392" y="370"/>
                  </a:cubicBezTo>
                  <a:cubicBezTo>
                    <a:pt x="16" y="370"/>
                    <a:pt x="16" y="370"/>
                    <a:pt x="16" y="370"/>
                  </a:cubicBezTo>
                  <a:cubicBezTo>
                    <a:pt x="7" y="370"/>
                    <a:pt x="0" y="363"/>
                    <a:pt x="0" y="35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392" y="0"/>
                    <a:pt x="392" y="0"/>
                    <a:pt x="392" y="0"/>
                  </a:cubicBezTo>
                  <a:cubicBezTo>
                    <a:pt x="400" y="0"/>
                    <a:pt x="407" y="7"/>
                    <a:pt x="407" y="16"/>
                  </a:cubicBezTo>
                  <a:lnTo>
                    <a:pt x="407" y="355"/>
                  </a:lnTo>
                  <a:close/>
                </a:path>
              </a:pathLst>
            </a:custGeom>
            <a:solidFill>
              <a:srgbClr val="F8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" name="ExtraShape3"/>
            <p:cNvSpPr/>
            <p:nvPr/>
          </p:nvSpPr>
          <p:spPr bwMode="auto">
            <a:xfrm>
              <a:off x="4584677" y="4527947"/>
              <a:ext cx="784249" cy="343920"/>
            </a:xfrm>
            <a:custGeom>
              <a:avLst/>
              <a:gdLst>
                <a:gd name="T0" fmla="*/ 700 w 846"/>
                <a:gd name="T1" fmla="*/ 95 h 371"/>
                <a:gd name="T2" fmla="*/ 553 w 846"/>
                <a:gd name="T3" fmla="*/ 228 h 371"/>
                <a:gd name="T4" fmla="*/ 312 w 846"/>
                <a:gd name="T5" fmla="*/ 0 h 371"/>
                <a:gd name="T6" fmla="*/ 0 w 846"/>
                <a:gd name="T7" fmla="*/ 199 h 371"/>
                <a:gd name="T8" fmla="*/ 0 w 846"/>
                <a:gd name="T9" fmla="*/ 371 h 371"/>
                <a:gd name="T10" fmla="*/ 846 w 846"/>
                <a:gd name="T11" fmla="*/ 371 h 371"/>
                <a:gd name="T12" fmla="*/ 846 w 846"/>
                <a:gd name="T13" fmla="*/ 197 h 371"/>
                <a:gd name="T14" fmla="*/ 700 w 846"/>
                <a:gd name="T15" fmla="*/ 95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6" h="371">
                  <a:moveTo>
                    <a:pt x="700" y="95"/>
                  </a:moveTo>
                  <a:lnTo>
                    <a:pt x="553" y="228"/>
                  </a:lnTo>
                  <a:lnTo>
                    <a:pt x="312" y="0"/>
                  </a:lnTo>
                  <a:lnTo>
                    <a:pt x="0" y="199"/>
                  </a:lnTo>
                  <a:lnTo>
                    <a:pt x="0" y="371"/>
                  </a:lnTo>
                  <a:lnTo>
                    <a:pt x="846" y="371"/>
                  </a:lnTo>
                  <a:lnTo>
                    <a:pt x="846" y="197"/>
                  </a:lnTo>
                  <a:lnTo>
                    <a:pt x="700" y="95"/>
                  </a:lnTo>
                  <a:close/>
                </a:path>
              </a:pathLst>
            </a:custGeom>
            <a:solidFill>
              <a:srgbClr val="84D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" name="ExtraShape4"/>
            <p:cNvSpPr/>
            <p:nvPr/>
          </p:nvSpPr>
          <p:spPr bwMode="auto">
            <a:xfrm>
              <a:off x="4554086" y="4495501"/>
              <a:ext cx="845432" cy="407883"/>
            </a:xfrm>
            <a:custGeom>
              <a:avLst/>
              <a:gdLst>
                <a:gd name="T0" fmla="*/ 423 w 439"/>
                <a:gd name="T1" fmla="*/ 212 h 212"/>
                <a:gd name="T2" fmla="*/ 16 w 439"/>
                <a:gd name="T3" fmla="*/ 212 h 212"/>
                <a:gd name="T4" fmla="*/ 0 w 439"/>
                <a:gd name="T5" fmla="*/ 196 h 212"/>
                <a:gd name="T6" fmla="*/ 0 w 439"/>
                <a:gd name="T7" fmla="*/ 113 h 212"/>
                <a:gd name="T8" fmla="*/ 8 w 439"/>
                <a:gd name="T9" fmla="*/ 99 h 212"/>
                <a:gd name="T10" fmla="*/ 158 w 439"/>
                <a:gd name="T11" fmla="*/ 4 h 212"/>
                <a:gd name="T12" fmla="*/ 177 w 439"/>
                <a:gd name="T13" fmla="*/ 6 h 212"/>
                <a:gd name="T14" fmla="*/ 282 w 439"/>
                <a:gd name="T15" fmla="*/ 105 h 212"/>
                <a:gd name="T16" fmla="*/ 342 w 439"/>
                <a:gd name="T17" fmla="*/ 51 h 212"/>
                <a:gd name="T18" fmla="*/ 362 w 439"/>
                <a:gd name="T19" fmla="*/ 50 h 212"/>
                <a:gd name="T20" fmla="*/ 432 w 439"/>
                <a:gd name="T21" fmla="*/ 99 h 212"/>
                <a:gd name="T22" fmla="*/ 439 w 439"/>
                <a:gd name="T23" fmla="*/ 112 h 212"/>
                <a:gd name="T24" fmla="*/ 439 w 439"/>
                <a:gd name="T25" fmla="*/ 196 h 212"/>
                <a:gd name="T26" fmla="*/ 423 w 439"/>
                <a:gd name="T27" fmla="*/ 212 h 212"/>
                <a:gd name="T28" fmla="*/ 32 w 439"/>
                <a:gd name="T29" fmla="*/ 180 h 212"/>
                <a:gd name="T30" fmla="*/ 407 w 439"/>
                <a:gd name="T31" fmla="*/ 180 h 212"/>
                <a:gd name="T32" fmla="*/ 407 w 439"/>
                <a:gd name="T33" fmla="*/ 121 h 212"/>
                <a:gd name="T34" fmla="*/ 354 w 439"/>
                <a:gd name="T35" fmla="*/ 83 h 212"/>
                <a:gd name="T36" fmla="*/ 293 w 439"/>
                <a:gd name="T37" fmla="*/ 139 h 212"/>
                <a:gd name="T38" fmla="*/ 271 w 439"/>
                <a:gd name="T39" fmla="*/ 138 h 212"/>
                <a:gd name="T40" fmla="*/ 164 w 439"/>
                <a:gd name="T41" fmla="*/ 37 h 212"/>
                <a:gd name="T42" fmla="*/ 32 w 439"/>
                <a:gd name="T43" fmla="*/ 121 h 212"/>
                <a:gd name="T44" fmla="*/ 32 w 439"/>
                <a:gd name="T45" fmla="*/ 18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39" h="212">
                  <a:moveTo>
                    <a:pt x="423" y="212"/>
                  </a:moveTo>
                  <a:cubicBezTo>
                    <a:pt x="16" y="212"/>
                    <a:pt x="16" y="212"/>
                    <a:pt x="16" y="212"/>
                  </a:cubicBezTo>
                  <a:cubicBezTo>
                    <a:pt x="7" y="212"/>
                    <a:pt x="0" y="205"/>
                    <a:pt x="0" y="196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07"/>
                    <a:pt x="3" y="102"/>
                    <a:pt x="8" y="99"/>
                  </a:cubicBezTo>
                  <a:cubicBezTo>
                    <a:pt x="158" y="4"/>
                    <a:pt x="158" y="4"/>
                    <a:pt x="158" y="4"/>
                  </a:cubicBezTo>
                  <a:cubicBezTo>
                    <a:pt x="164" y="0"/>
                    <a:pt x="172" y="1"/>
                    <a:pt x="177" y="6"/>
                  </a:cubicBezTo>
                  <a:cubicBezTo>
                    <a:pt x="282" y="105"/>
                    <a:pt x="282" y="105"/>
                    <a:pt x="282" y="105"/>
                  </a:cubicBezTo>
                  <a:cubicBezTo>
                    <a:pt x="342" y="51"/>
                    <a:pt x="342" y="51"/>
                    <a:pt x="342" y="51"/>
                  </a:cubicBezTo>
                  <a:cubicBezTo>
                    <a:pt x="347" y="46"/>
                    <a:pt x="356" y="45"/>
                    <a:pt x="362" y="50"/>
                  </a:cubicBezTo>
                  <a:cubicBezTo>
                    <a:pt x="432" y="99"/>
                    <a:pt x="432" y="99"/>
                    <a:pt x="432" y="99"/>
                  </a:cubicBezTo>
                  <a:cubicBezTo>
                    <a:pt x="437" y="102"/>
                    <a:pt x="439" y="107"/>
                    <a:pt x="439" y="112"/>
                  </a:cubicBezTo>
                  <a:cubicBezTo>
                    <a:pt x="439" y="196"/>
                    <a:pt x="439" y="196"/>
                    <a:pt x="439" y="196"/>
                  </a:cubicBezTo>
                  <a:cubicBezTo>
                    <a:pt x="439" y="205"/>
                    <a:pt x="432" y="212"/>
                    <a:pt x="423" y="212"/>
                  </a:cubicBezTo>
                  <a:close/>
                  <a:moveTo>
                    <a:pt x="32" y="180"/>
                  </a:moveTo>
                  <a:cubicBezTo>
                    <a:pt x="407" y="180"/>
                    <a:pt x="407" y="180"/>
                    <a:pt x="407" y="180"/>
                  </a:cubicBezTo>
                  <a:cubicBezTo>
                    <a:pt x="407" y="121"/>
                    <a:pt x="407" y="121"/>
                    <a:pt x="407" y="121"/>
                  </a:cubicBezTo>
                  <a:cubicBezTo>
                    <a:pt x="354" y="83"/>
                    <a:pt x="354" y="83"/>
                    <a:pt x="354" y="83"/>
                  </a:cubicBezTo>
                  <a:cubicBezTo>
                    <a:pt x="293" y="139"/>
                    <a:pt x="293" y="139"/>
                    <a:pt x="293" y="139"/>
                  </a:cubicBezTo>
                  <a:cubicBezTo>
                    <a:pt x="287" y="144"/>
                    <a:pt x="277" y="144"/>
                    <a:pt x="271" y="138"/>
                  </a:cubicBezTo>
                  <a:cubicBezTo>
                    <a:pt x="164" y="37"/>
                    <a:pt x="164" y="37"/>
                    <a:pt x="164" y="37"/>
                  </a:cubicBezTo>
                  <a:cubicBezTo>
                    <a:pt x="32" y="121"/>
                    <a:pt x="32" y="121"/>
                    <a:pt x="32" y="121"/>
                  </a:cubicBezTo>
                  <a:cubicBezTo>
                    <a:pt x="32" y="180"/>
                    <a:pt x="32" y="180"/>
                    <a:pt x="32" y="18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" name="ExtraShape5"/>
            <p:cNvSpPr/>
            <p:nvPr/>
          </p:nvSpPr>
          <p:spPr bwMode="auto">
            <a:xfrm>
              <a:off x="4584677" y="4871867"/>
              <a:ext cx="784249" cy="146468"/>
            </a:xfrm>
            <a:custGeom>
              <a:avLst/>
              <a:gdLst>
                <a:gd name="T0" fmla="*/ 0 w 407"/>
                <a:gd name="T1" fmla="*/ 0 h 76"/>
                <a:gd name="T2" fmla="*/ 0 w 407"/>
                <a:gd name="T3" fmla="*/ 61 h 76"/>
                <a:gd name="T4" fmla="*/ 16 w 407"/>
                <a:gd name="T5" fmla="*/ 76 h 76"/>
                <a:gd name="T6" fmla="*/ 392 w 407"/>
                <a:gd name="T7" fmla="*/ 76 h 76"/>
                <a:gd name="T8" fmla="*/ 407 w 407"/>
                <a:gd name="T9" fmla="*/ 61 h 76"/>
                <a:gd name="T10" fmla="*/ 407 w 407"/>
                <a:gd name="T11" fmla="*/ 0 h 76"/>
                <a:gd name="T12" fmla="*/ 0 w 407"/>
                <a:gd name="T13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7" h="76">
                  <a:moveTo>
                    <a:pt x="0" y="0"/>
                  </a:moveTo>
                  <a:cubicBezTo>
                    <a:pt x="0" y="61"/>
                    <a:pt x="0" y="61"/>
                    <a:pt x="0" y="61"/>
                  </a:cubicBezTo>
                  <a:cubicBezTo>
                    <a:pt x="0" y="69"/>
                    <a:pt x="7" y="76"/>
                    <a:pt x="16" y="76"/>
                  </a:cubicBezTo>
                  <a:cubicBezTo>
                    <a:pt x="392" y="76"/>
                    <a:pt x="392" y="76"/>
                    <a:pt x="392" y="76"/>
                  </a:cubicBezTo>
                  <a:cubicBezTo>
                    <a:pt x="400" y="76"/>
                    <a:pt x="407" y="69"/>
                    <a:pt x="407" y="61"/>
                  </a:cubicBezTo>
                  <a:cubicBezTo>
                    <a:pt x="407" y="0"/>
                    <a:pt x="407" y="0"/>
                    <a:pt x="40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9D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" name="ExtraShape6"/>
            <p:cNvSpPr/>
            <p:nvPr/>
          </p:nvSpPr>
          <p:spPr bwMode="auto">
            <a:xfrm>
              <a:off x="4554086" y="4275801"/>
              <a:ext cx="845432" cy="773125"/>
            </a:xfrm>
            <a:custGeom>
              <a:avLst/>
              <a:gdLst>
                <a:gd name="T0" fmla="*/ 408 w 439"/>
                <a:gd name="T1" fmla="*/ 402 h 402"/>
                <a:gd name="T2" fmla="*/ 32 w 439"/>
                <a:gd name="T3" fmla="*/ 402 h 402"/>
                <a:gd name="T4" fmla="*/ 0 w 439"/>
                <a:gd name="T5" fmla="*/ 371 h 402"/>
                <a:gd name="T6" fmla="*/ 0 w 439"/>
                <a:gd name="T7" fmla="*/ 32 h 402"/>
                <a:gd name="T8" fmla="*/ 32 w 439"/>
                <a:gd name="T9" fmla="*/ 0 h 402"/>
                <a:gd name="T10" fmla="*/ 408 w 439"/>
                <a:gd name="T11" fmla="*/ 0 h 402"/>
                <a:gd name="T12" fmla="*/ 439 w 439"/>
                <a:gd name="T13" fmla="*/ 32 h 402"/>
                <a:gd name="T14" fmla="*/ 439 w 439"/>
                <a:gd name="T15" fmla="*/ 371 h 402"/>
                <a:gd name="T16" fmla="*/ 408 w 439"/>
                <a:gd name="T17" fmla="*/ 402 h 402"/>
                <a:gd name="T18" fmla="*/ 407 w 439"/>
                <a:gd name="T19" fmla="*/ 32 h 402"/>
                <a:gd name="T20" fmla="*/ 32 w 439"/>
                <a:gd name="T21" fmla="*/ 32 h 402"/>
                <a:gd name="T22" fmla="*/ 32 w 439"/>
                <a:gd name="T23" fmla="*/ 371 h 402"/>
                <a:gd name="T24" fmla="*/ 407 w 439"/>
                <a:gd name="T25" fmla="*/ 370 h 402"/>
                <a:gd name="T26" fmla="*/ 407 w 439"/>
                <a:gd name="T27" fmla="*/ 32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9" h="402">
                  <a:moveTo>
                    <a:pt x="408" y="402"/>
                  </a:moveTo>
                  <a:cubicBezTo>
                    <a:pt x="32" y="402"/>
                    <a:pt x="32" y="402"/>
                    <a:pt x="32" y="402"/>
                  </a:cubicBezTo>
                  <a:cubicBezTo>
                    <a:pt x="14" y="402"/>
                    <a:pt x="0" y="388"/>
                    <a:pt x="0" y="37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408" y="0"/>
                    <a:pt x="408" y="0"/>
                    <a:pt x="408" y="0"/>
                  </a:cubicBezTo>
                  <a:cubicBezTo>
                    <a:pt x="425" y="0"/>
                    <a:pt x="439" y="14"/>
                    <a:pt x="439" y="32"/>
                  </a:cubicBezTo>
                  <a:cubicBezTo>
                    <a:pt x="439" y="371"/>
                    <a:pt x="439" y="371"/>
                    <a:pt x="439" y="371"/>
                  </a:cubicBezTo>
                  <a:cubicBezTo>
                    <a:pt x="439" y="388"/>
                    <a:pt x="425" y="402"/>
                    <a:pt x="408" y="402"/>
                  </a:cubicBezTo>
                  <a:close/>
                  <a:moveTo>
                    <a:pt x="407" y="32"/>
                  </a:moveTo>
                  <a:cubicBezTo>
                    <a:pt x="32" y="32"/>
                    <a:pt x="32" y="32"/>
                    <a:pt x="32" y="32"/>
                  </a:cubicBezTo>
                  <a:cubicBezTo>
                    <a:pt x="32" y="371"/>
                    <a:pt x="32" y="371"/>
                    <a:pt x="32" y="371"/>
                  </a:cubicBezTo>
                  <a:cubicBezTo>
                    <a:pt x="407" y="370"/>
                    <a:pt x="407" y="370"/>
                    <a:pt x="407" y="370"/>
                  </a:cubicBezTo>
                  <a:lnTo>
                    <a:pt x="407" y="3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" name="ExtraShape7"/>
            <p:cNvSpPr/>
            <p:nvPr/>
          </p:nvSpPr>
          <p:spPr bwMode="auto">
            <a:xfrm>
              <a:off x="4554086" y="4841276"/>
              <a:ext cx="845432" cy="207649"/>
            </a:xfrm>
            <a:custGeom>
              <a:avLst/>
              <a:gdLst>
                <a:gd name="T0" fmla="*/ 408 w 439"/>
                <a:gd name="T1" fmla="*/ 108 h 108"/>
                <a:gd name="T2" fmla="*/ 32 w 439"/>
                <a:gd name="T3" fmla="*/ 108 h 108"/>
                <a:gd name="T4" fmla="*/ 0 w 439"/>
                <a:gd name="T5" fmla="*/ 77 h 108"/>
                <a:gd name="T6" fmla="*/ 0 w 439"/>
                <a:gd name="T7" fmla="*/ 16 h 108"/>
                <a:gd name="T8" fmla="*/ 16 w 439"/>
                <a:gd name="T9" fmla="*/ 0 h 108"/>
                <a:gd name="T10" fmla="*/ 423 w 439"/>
                <a:gd name="T11" fmla="*/ 0 h 108"/>
                <a:gd name="T12" fmla="*/ 439 w 439"/>
                <a:gd name="T13" fmla="*/ 16 h 108"/>
                <a:gd name="T14" fmla="*/ 439 w 439"/>
                <a:gd name="T15" fmla="*/ 77 h 108"/>
                <a:gd name="T16" fmla="*/ 408 w 439"/>
                <a:gd name="T17" fmla="*/ 108 h 108"/>
                <a:gd name="T18" fmla="*/ 32 w 439"/>
                <a:gd name="T19" fmla="*/ 32 h 108"/>
                <a:gd name="T20" fmla="*/ 32 w 439"/>
                <a:gd name="T21" fmla="*/ 77 h 108"/>
                <a:gd name="T22" fmla="*/ 408 w 439"/>
                <a:gd name="T23" fmla="*/ 76 h 108"/>
                <a:gd name="T24" fmla="*/ 408 w 439"/>
                <a:gd name="T25" fmla="*/ 32 h 108"/>
                <a:gd name="T26" fmla="*/ 32 w 439"/>
                <a:gd name="T27" fmla="*/ 3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9" h="108">
                  <a:moveTo>
                    <a:pt x="408" y="108"/>
                  </a:moveTo>
                  <a:cubicBezTo>
                    <a:pt x="32" y="108"/>
                    <a:pt x="32" y="108"/>
                    <a:pt x="32" y="108"/>
                  </a:cubicBezTo>
                  <a:cubicBezTo>
                    <a:pt x="14" y="108"/>
                    <a:pt x="0" y="94"/>
                    <a:pt x="0" y="7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423" y="0"/>
                    <a:pt x="423" y="0"/>
                    <a:pt x="423" y="0"/>
                  </a:cubicBezTo>
                  <a:cubicBezTo>
                    <a:pt x="432" y="0"/>
                    <a:pt x="439" y="7"/>
                    <a:pt x="439" y="16"/>
                  </a:cubicBezTo>
                  <a:cubicBezTo>
                    <a:pt x="439" y="77"/>
                    <a:pt x="439" y="77"/>
                    <a:pt x="439" y="77"/>
                  </a:cubicBezTo>
                  <a:cubicBezTo>
                    <a:pt x="439" y="94"/>
                    <a:pt x="425" y="108"/>
                    <a:pt x="408" y="108"/>
                  </a:cubicBezTo>
                  <a:close/>
                  <a:moveTo>
                    <a:pt x="32" y="32"/>
                  </a:moveTo>
                  <a:cubicBezTo>
                    <a:pt x="32" y="77"/>
                    <a:pt x="32" y="77"/>
                    <a:pt x="32" y="77"/>
                  </a:cubicBezTo>
                  <a:cubicBezTo>
                    <a:pt x="408" y="76"/>
                    <a:pt x="408" y="76"/>
                    <a:pt x="408" y="76"/>
                  </a:cubicBezTo>
                  <a:cubicBezTo>
                    <a:pt x="408" y="32"/>
                    <a:pt x="408" y="32"/>
                    <a:pt x="408" y="32"/>
                  </a:cubicBezTo>
                  <a:lnTo>
                    <a:pt x="32" y="3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" name="ExtraShape8"/>
            <p:cNvSpPr/>
            <p:nvPr/>
          </p:nvSpPr>
          <p:spPr bwMode="auto">
            <a:xfrm>
              <a:off x="4999050" y="4377772"/>
              <a:ext cx="211358" cy="209504"/>
            </a:xfrm>
            <a:custGeom>
              <a:avLst/>
              <a:gdLst>
                <a:gd name="T0" fmla="*/ 55 w 110"/>
                <a:gd name="T1" fmla="*/ 109 h 109"/>
                <a:gd name="T2" fmla="*/ 0 w 110"/>
                <a:gd name="T3" fmla="*/ 55 h 109"/>
                <a:gd name="T4" fmla="*/ 55 w 110"/>
                <a:gd name="T5" fmla="*/ 0 h 109"/>
                <a:gd name="T6" fmla="*/ 110 w 110"/>
                <a:gd name="T7" fmla="*/ 55 h 109"/>
                <a:gd name="T8" fmla="*/ 55 w 110"/>
                <a:gd name="T9" fmla="*/ 109 h 109"/>
                <a:gd name="T10" fmla="*/ 55 w 110"/>
                <a:gd name="T11" fmla="*/ 32 h 109"/>
                <a:gd name="T12" fmla="*/ 32 w 110"/>
                <a:gd name="T13" fmla="*/ 55 h 109"/>
                <a:gd name="T14" fmla="*/ 55 w 110"/>
                <a:gd name="T15" fmla="*/ 77 h 109"/>
                <a:gd name="T16" fmla="*/ 78 w 110"/>
                <a:gd name="T17" fmla="*/ 55 h 109"/>
                <a:gd name="T18" fmla="*/ 55 w 110"/>
                <a:gd name="T19" fmla="*/ 3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" h="109">
                  <a:moveTo>
                    <a:pt x="55" y="109"/>
                  </a:moveTo>
                  <a:cubicBezTo>
                    <a:pt x="25" y="109"/>
                    <a:pt x="0" y="85"/>
                    <a:pt x="0" y="55"/>
                  </a:cubicBezTo>
                  <a:cubicBezTo>
                    <a:pt x="0" y="24"/>
                    <a:pt x="25" y="0"/>
                    <a:pt x="55" y="0"/>
                  </a:cubicBezTo>
                  <a:cubicBezTo>
                    <a:pt x="85" y="0"/>
                    <a:pt x="110" y="24"/>
                    <a:pt x="110" y="55"/>
                  </a:cubicBezTo>
                  <a:cubicBezTo>
                    <a:pt x="110" y="85"/>
                    <a:pt x="85" y="109"/>
                    <a:pt x="55" y="109"/>
                  </a:cubicBezTo>
                  <a:close/>
                  <a:moveTo>
                    <a:pt x="55" y="32"/>
                  </a:moveTo>
                  <a:cubicBezTo>
                    <a:pt x="43" y="32"/>
                    <a:pt x="32" y="42"/>
                    <a:pt x="32" y="55"/>
                  </a:cubicBezTo>
                  <a:cubicBezTo>
                    <a:pt x="32" y="67"/>
                    <a:pt x="43" y="77"/>
                    <a:pt x="55" y="77"/>
                  </a:cubicBezTo>
                  <a:cubicBezTo>
                    <a:pt x="68" y="77"/>
                    <a:pt x="78" y="67"/>
                    <a:pt x="78" y="55"/>
                  </a:cubicBezTo>
                  <a:cubicBezTo>
                    <a:pt x="78" y="42"/>
                    <a:pt x="68" y="32"/>
                    <a:pt x="55" y="3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" name="ExtraShape1"/>
            <p:cNvSpPr/>
            <p:nvPr/>
          </p:nvSpPr>
          <p:spPr bwMode="auto">
            <a:xfrm>
              <a:off x="4795108" y="1735840"/>
              <a:ext cx="371731" cy="825038"/>
            </a:xfrm>
            <a:custGeom>
              <a:avLst/>
              <a:gdLst>
                <a:gd name="T0" fmla="*/ 177 w 193"/>
                <a:gd name="T1" fmla="*/ 429 h 429"/>
                <a:gd name="T2" fmla="*/ 168 w 193"/>
                <a:gd name="T3" fmla="*/ 425 h 429"/>
                <a:gd name="T4" fmla="*/ 6 w 193"/>
                <a:gd name="T5" fmla="*/ 307 h 429"/>
                <a:gd name="T6" fmla="*/ 0 w 193"/>
                <a:gd name="T7" fmla="*/ 294 h 429"/>
                <a:gd name="T8" fmla="*/ 0 w 193"/>
                <a:gd name="T9" fmla="*/ 135 h 429"/>
                <a:gd name="T10" fmla="*/ 6 w 193"/>
                <a:gd name="T11" fmla="*/ 122 h 429"/>
                <a:gd name="T12" fmla="*/ 168 w 193"/>
                <a:gd name="T13" fmla="*/ 4 h 429"/>
                <a:gd name="T14" fmla="*/ 185 w 193"/>
                <a:gd name="T15" fmla="*/ 3 h 429"/>
                <a:gd name="T16" fmla="*/ 193 w 193"/>
                <a:gd name="T17" fmla="*/ 17 h 429"/>
                <a:gd name="T18" fmla="*/ 193 w 193"/>
                <a:gd name="T19" fmla="*/ 413 h 429"/>
                <a:gd name="T20" fmla="*/ 185 w 193"/>
                <a:gd name="T21" fmla="*/ 427 h 429"/>
                <a:gd name="T22" fmla="*/ 177 w 193"/>
                <a:gd name="T23" fmla="*/ 429 h 429"/>
                <a:gd name="T24" fmla="*/ 32 w 193"/>
                <a:gd name="T25" fmla="*/ 286 h 429"/>
                <a:gd name="T26" fmla="*/ 161 w 193"/>
                <a:gd name="T27" fmla="*/ 381 h 429"/>
                <a:gd name="T28" fmla="*/ 161 w 193"/>
                <a:gd name="T29" fmla="*/ 48 h 429"/>
                <a:gd name="T30" fmla="*/ 32 w 193"/>
                <a:gd name="T31" fmla="*/ 143 h 429"/>
                <a:gd name="T32" fmla="*/ 32 w 193"/>
                <a:gd name="T33" fmla="*/ 286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3" h="429">
                  <a:moveTo>
                    <a:pt x="177" y="429"/>
                  </a:moveTo>
                  <a:cubicBezTo>
                    <a:pt x="174" y="429"/>
                    <a:pt x="171" y="428"/>
                    <a:pt x="168" y="425"/>
                  </a:cubicBezTo>
                  <a:cubicBezTo>
                    <a:pt x="6" y="307"/>
                    <a:pt x="6" y="307"/>
                    <a:pt x="6" y="307"/>
                  </a:cubicBezTo>
                  <a:cubicBezTo>
                    <a:pt x="2" y="304"/>
                    <a:pt x="0" y="300"/>
                    <a:pt x="0" y="294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30"/>
                    <a:pt x="2" y="125"/>
                    <a:pt x="6" y="122"/>
                  </a:cubicBezTo>
                  <a:cubicBezTo>
                    <a:pt x="168" y="4"/>
                    <a:pt x="168" y="4"/>
                    <a:pt x="168" y="4"/>
                  </a:cubicBezTo>
                  <a:cubicBezTo>
                    <a:pt x="173" y="0"/>
                    <a:pt x="179" y="0"/>
                    <a:pt x="185" y="3"/>
                  </a:cubicBezTo>
                  <a:cubicBezTo>
                    <a:pt x="190" y="5"/>
                    <a:pt x="193" y="11"/>
                    <a:pt x="193" y="17"/>
                  </a:cubicBezTo>
                  <a:cubicBezTo>
                    <a:pt x="193" y="413"/>
                    <a:pt x="193" y="413"/>
                    <a:pt x="193" y="413"/>
                  </a:cubicBezTo>
                  <a:cubicBezTo>
                    <a:pt x="193" y="419"/>
                    <a:pt x="190" y="424"/>
                    <a:pt x="185" y="427"/>
                  </a:cubicBezTo>
                  <a:cubicBezTo>
                    <a:pt x="182" y="428"/>
                    <a:pt x="180" y="429"/>
                    <a:pt x="177" y="429"/>
                  </a:cubicBezTo>
                  <a:close/>
                  <a:moveTo>
                    <a:pt x="32" y="286"/>
                  </a:moveTo>
                  <a:cubicBezTo>
                    <a:pt x="161" y="381"/>
                    <a:pt x="161" y="381"/>
                    <a:pt x="161" y="381"/>
                  </a:cubicBezTo>
                  <a:cubicBezTo>
                    <a:pt x="161" y="48"/>
                    <a:pt x="161" y="48"/>
                    <a:pt x="161" y="48"/>
                  </a:cubicBezTo>
                  <a:cubicBezTo>
                    <a:pt x="32" y="143"/>
                    <a:pt x="32" y="143"/>
                    <a:pt x="32" y="143"/>
                  </a:cubicBezTo>
                  <a:lnTo>
                    <a:pt x="32" y="28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" name="ExtraShape2"/>
            <p:cNvSpPr/>
            <p:nvPr/>
          </p:nvSpPr>
          <p:spPr bwMode="auto">
            <a:xfrm>
              <a:off x="4515152" y="1995403"/>
              <a:ext cx="310547" cy="305913"/>
            </a:xfrm>
            <a:custGeom>
              <a:avLst/>
              <a:gdLst>
                <a:gd name="T0" fmla="*/ 36 w 161"/>
                <a:gd name="T1" fmla="*/ 0 h 159"/>
                <a:gd name="T2" fmla="*/ 0 w 161"/>
                <a:gd name="T3" fmla="*/ 35 h 159"/>
                <a:gd name="T4" fmla="*/ 0 w 161"/>
                <a:gd name="T5" fmla="*/ 124 h 159"/>
                <a:gd name="T6" fmla="*/ 36 w 161"/>
                <a:gd name="T7" fmla="*/ 159 h 159"/>
                <a:gd name="T8" fmla="*/ 161 w 161"/>
                <a:gd name="T9" fmla="*/ 159 h 159"/>
                <a:gd name="T10" fmla="*/ 161 w 161"/>
                <a:gd name="T11" fmla="*/ 124 h 159"/>
                <a:gd name="T12" fmla="*/ 161 w 161"/>
                <a:gd name="T13" fmla="*/ 35 h 159"/>
                <a:gd name="T14" fmla="*/ 161 w 161"/>
                <a:gd name="T15" fmla="*/ 0 h 159"/>
                <a:gd name="T16" fmla="*/ 36 w 161"/>
                <a:gd name="T17" fmla="*/ 0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1" h="159">
                  <a:moveTo>
                    <a:pt x="36" y="0"/>
                  </a:moveTo>
                  <a:cubicBezTo>
                    <a:pt x="16" y="0"/>
                    <a:pt x="0" y="16"/>
                    <a:pt x="0" y="35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143"/>
                    <a:pt x="16" y="159"/>
                    <a:pt x="36" y="159"/>
                  </a:cubicBezTo>
                  <a:cubicBezTo>
                    <a:pt x="161" y="159"/>
                    <a:pt x="161" y="159"/>
                    <a:pt x="161" y="159"/>
                  </a:cubicBezTo>
                  <a:cubicBezTo>
                    <a:pt x="161" y="124"/>
                    <a:pt x="161" y="124"/>
                    <a:pt x="161" y="124"/>
                  </a:cubicBezTo>
                  <a:cubicBezTo>
                    <a:pt x="161" y="35"/>
                    <a:pt x="161" y="35"/>
                    <a:pt x="161" y="35"/>
                  </a:cubicBezTo>
                  <a:cubicBezTo>
                    <a:pt x="161" y="0"/>
                    <a:pt x="161" y="0"/>
                    <a:pt x="161" y="0"/>
                  </a:cubicBezTo>
                  <a:lnTo>
                    <a:pt x="36" y="0"/>
                  </a:lnTo>
                  <a:close/>
                </a:path>
              </a:pathLst>
            </a:custGeom>
            <a:solidFill>
              <a:srgbClr val="82D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" name="ExtraShape3"/>
            <p:cNvSpPr/>
            <p:nvPr/>
          </p:nvSpPr>
          <p:spPr bwMode="auto">
            <a:xfrm>
              <a:off x="4484561" y="1964812"/>
              <a:ext cx="371731" cy="367095"/>
            </a:xfrm>
            <a:custGeom>
              <a:avLst/>
              <a:gdLst>
                <a:gd name="T0" fmla="*/ 177 w 193"/>
                <a:gd name="T1" fmla="*/ 191 h 191"/>
                <a:gd name="T2" fmla="*/ 52 w 193"/>
                <a:gd name="T3" fmla="*/ 191 h 191"/>
                <a:gd name="T4" fmla="*/ 0 w 193"/>
                <a:gd name="T5" fmla="*/ 140 h 191"/>
                <a:gd name="T6" fmla="*/ 0 w 193"/>
                <a:gd name="T7" fmla="*/ 51 h 191"/>
                <a:gd name="T8" fmla="*/ 52 w 193"/>
                <a:gd name="T9" fmla="*/ 0 h 191"/>
                <a:gd name="T10" fmla="*/ 177 w 193"/>
                <a:gd name="T11" fmla="*/ 0 h 191"/>
                <a:gd name="T12" fmla="*/ 193 w 193"/>
                <a:gd name="T13" fmla="*/ 16 h 191"/>
                <a:gd name="T14" fmla="*/ 193 w 193"/>
                <a:gd name="T15" fmla="*/ 175 h 191"/>
                <a:gd name="T16" fmla="*/ 177 w 193"/>
                <a:gd name="T17" fmla="*/ 191 h 191"/>
                <a:gd name="T18" fmla="*/ 52 w 193"/>
                <a:gd name="T19" fmla="*/ 32 h 191"/>
                <a:gd name="T20" fmla="*/ 32 w 193"/>
                <a:gd name="T21" fmla="*/ 51 h 191"/>
                <a:gd name="T22" fmla="*/ 32 w 193"/>
                <a:gd name="T23" fmla="*/ 140 h 191"/>
                <a:gd name="T24" fmla="*/ 52 w 193"/>
                <a:gd name="T25" fmla="*/ 159 h 191"/>
                <a:gd name="T26" fmla="*/ 161 w 193"/>
                <a:gd name="T27" fmla="*/ 159 h 191"/>
                <a:gd name="T28" fmla="*/ 161 w 193"/>
                <a:gd name="T29" fmla="*/ 32 h 191"/>
                <a:gd name="T30" fmla="*/ 52 w 193"/>
                <a:gd name="T31" fmla="*/ 32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91">
                  <a:moveTo>
                    <a:pt x="177" y="191"/>
                  </a:moveTo>
                  <a:cubicBezTo>
                    <a:pt x="52" y="191"/>
                    <a:pt x="52" y="191"/>
                    <a:pt x="52" y="191"/>
                  </a:cubicBezTo>
                  <a:cubicBezTo>
                    <a:pt x="23" y="191"/>
                    <a:pt x="0" y="168"/>
                    <a:pt x="0" y="14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3" y="0"/>
                    <a:pt x="52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86" y="0"/>
                    <a:pt x="193" y="7"/>
                    <a:pt x="193" y="16"/>
                  </a:cubicBezTo>
                  <a:cubicBezTo>
                    <a:pt x="193" y="175"/>
                    <a:pt x="193" y="175"/>
                    <a:pt x="193" y="175"/>
                  </a:cubicBezTo>
                  <a:cubicBezTo>
                    <a:pt x="193" y="184"/>
                    <a:pt x="186" y="191"/>
                    <a:pt x="177" y="191"/>
                  </a:cubicBezTo>
                  <a:close/>
                  <a:moveTo>
                    <a:pt x="52" y="32"/>
                  </a:moveTo>
                  <a:cubicBezTo>
                    <a:pt x="41" y="32"/>
                    <a:pt x="32" y="41"/>
                    <a:pt x="32" y="51"/>
                  </a:cubicBezTo>
                  <a:cubicBezTo>
                    <a:pt x="32" y="140"/>
                    <a:pt x="32" y="140"/>
                    <a:pt x="32" y="140"/>
                  </a:cubicBezTo>
                  <a:cubicBezTo>
                    <a:pt x="32" y="151"/>
                    <a:pt x="41" y="159"/>
                    <a:pt x="52" y="159"/>
                  </a:cubicBezTo>
                  <a:cubicBezTo>
                    <a:pt x="161" y="159"/>
                    <a:pt x="161" y="159"/>
                    <a:pt x="161" y="159"/>
                  </a:cubicBezTo>
                  <a:cubicBezTo>
                    <a:pt x="161" y="32"/>
                    <a:pt x="161" y="32"/>
                    <a:pt x="161" y="32"/>
                  </a:cubicBezTo>
                  <a:lnTo>
                    <a:pt x="52" y="3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" name="ExtraShape2"/>
            <p:cNvSpPr/>
            <p:nvPr/>
          </p:nvSpPr>
          <p:spPr bwMode="auto">
            <a:xfrm>
              <a:off x="6518417" y="4306392"/>
              <a:ext cx="786104" cy="711942"/>
            </a:xfrm>
            <a:custGeom>
              <a:avLst/>
              <a:gdLst>
                <a:gd name="T0" fmla="*/ 408 w 408"/>
                <a:gd name="T1" fmla="*/ 355 h 370"/>
                <a:gd name="T2" fmla="*/ 392 w 408"/>
                <a:gd name="T3" fmla="*/ 370 h 370"/>
                <a:gd name="T4" fmla="*/ 16 w 408"/>
                <a:gd name="T5" fmla="*/ 370 h 370"/>
                <a:gd name="T6" fmla="*/ 0 w 408"/>
                <a:gd name="T7" fmla="*/ 355 h 370"/>
                <a:gd name="T8" fmla="*/ 0 w 408"/>
                <a:gd name="T9" fmla="*/ 16 h 370"/>
                <a:gd name="T10" fmla="*/ 16 w 408"/>
                <a:gd name="T11" fmla="*/ 0 h 370"/>
                <a:gd name="T12" fmla="*/ 392 w 408"/>
                <a:gd name="T13" fmla="*/ 0 h 370"/>
                <a:gd name="T14" fmla="*/ 408 w 408"/>
                <a:gd name="T15" fmla="*/ 16 h 370"/>
                <a:gd name="T16" fmla="*/ 408 w 408"/>
                <a:gd name="T17" fmla="*/ 355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8" h="370">
                  <a:moveTo>
                    <a:pt x="408" y="355"/>
                  </a:moveTo>
                  <a:cubicBezTo>
                    <a:pt x="408" y="363"/>
                    <a:pt x="401" y="370"/>
                    <a:pt x="392" y="370"/>
                  </a:cubicBezTo>
                  <a:cubicBezTo>
                    <a:pt x="16" y="370"/>
                    <a:pt x="16" y="370"/>
                    <a:pt x="16" y="370"/>
                  </a:cubicBezTo>
                  <a:cubicBezTo>
                    <a:pt x="7" y="370"/>
                    <a:pt x="0" y="363"/>
                    <a:pt x="0" y="35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392" y="0"/>
                    <a:pt x="392" y="0"/>
                    <a:pt x="392" y="0"/>
                  </a:cubicBezTo>
                  <a:cubicBezTo>
                    <a:pt x="401" y="0"/>
                    <a:pt x="408" y="7"/>
                    <a:pt x="408" y="16"/>
                  </a:cubicBezTo>
                  <a:lnTo>
                    <a:pt x="408" y="355"/>
                  </a:lnTo>
                  <a:close/>
                </a:path>
              </a:pathLst>
            </a:custGeom>
            <a:solidFill>
              <a:srgbClr val="F9A2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" name="ExtraShape3"/>
            <p:cNvSpPr/>
            <p:nvPr/>
          </p:nvSpPr>
          <p:spPr bwMode="auto">
            <a:xfrm>
              <a:off x="6803936" y="4479743"/>
              <a:ext cx="292934" cy="365241"/>
            </a:xfrm>
            <a:custGeom>
              <a:avLst/>
              <a:gdLst>
                <a:gd name="T0" fmla="*/ 0 w 316"/>
                <a:gd name="T1" fmla="*/ 0 h 394"/>
                <a:gd name="T2" fmla="*/ 316 w 316"/>
                <a:gd name="T3" fmla="*/ 197 h 394"/>
                <a:gd name="T4" fmla="*/ 0 w 316"/>
                <a:gd name="T5" fmla="*/ 394 h 394"/>
                <a:gd name="T6" fmla="*/ 0 w 316"/>
                <a:gd name="T7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6" h="394">
                  <a:moveTo>
                    <a:pt x="0" y="0"/>
                  </a:moveTo>
                  <a:lnTo>
                    <a:pt x="316" y="197"/>
                  </a:lnTo>
                  <a:lnTo>
                    <a:pt x="0" y="3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8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" name="ExtraShape4"/>
            <p:cNvSpPr/>
            <p:nvPr/>
          </p:nvSpPr>
          <p:spPr bwMode="auto">
            <a:xfrm>
              <a:off x="6773344" y="4447297"/>
              <a:ext cx="354117" cy="428278"/>
            </a:xfrm>
            <a:custGeom>
              <a:avLst/>
              <a:gdLst>
                <a:gd name="T0" fmla="*/ 16 w 184"/>
                <a:gd name="T1" fmla="*/ 223 h 223"/>
                <a:gd name="T2" fmla="*/ 8 w 184"/>
                <a:gd name="T3" fmla="*/ 221 h 223"/>
                <a:gd name="T4" fmla="*/ 0 w 184"/>
                <a:gd name="T5" fmla="*/ 207 h 223"/>
                <a:gd name="T6" fmla="*/ 0 w 184"/>
                <a:gd name="T7" fmla="*/ 17 h 223"/>
                <a:gd name="T8" fmla="*/ 8 w 184"/>
                <a:gd name="T9" fmla="*/ 3 h 223"/>
                <a:gd name="T10" fmla="*/ 24 w 184"/>
                <a:gd name="T11" fmla="*/ 4 h 223"/>
                <a:gd name="T12" fmla="*/ 176 w 184"/>
                <a:gd name="T13" fmla="*/ 99 h 223"/>
                <a:gd name="T14" fmla="*/ 184 w 184"/>
                <a:gd name="T15" fmla="*/ 112 h 223"/>
                <a:gd name="T16" fmla="*/ 176 w 184"/>
                <a:gd name="T17" fmla="*/ 126 h 223"/>
                <a:gd name="T18" fmla="*/ 24 w 184"/>
                <a:gd name="T19" fmla="*/ 221 h 223"/>
                <a:gd name="T20" fmla="*/ 16 w 184"/>
                <a:gd name="T21" fmla="*/ 223 h 223"/>
                <a:gd name="T22" fmla="*/ 32 w 184"/>
                <a:gd name="T23" fmla="*/ 46 h 223"/>
                <a:gd name="T24" fmla="*/ 32 w 184"/>
                <a:gd name="T25" fmla="*/ 179 h 223"/>
                <a:gd name="T26" fmla="*/ 138 w 184"/>
                <a:gd name="T27" fmla="*/ 112 h 223"/>
                <a:gd name="T28" fmla="*/ 32 w 184"/>
                <a:gd name="T29" fmla="*/ 46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4" h="223">
                  <a:moveTo>
                    <a:pt x="16" y="223"/>
                  </a:moveTo>
                  <a:cubicBezTo>
                    <a:pt x="13" y="223"/>
                    <a:pt x="10" y="223"/>
                    <a:pt x="8" y="221"/>
                  </a:cubicBezTo>
                  <a:cubicBezTo>
                    <a:pt x="3" y="219"/>
                    <a:pt x="0" y="213"/>
                    <a:pt x="0" y="20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1"/>
                    <a:pt x="3" y="6"/>
                    <a:pt x="8" y="3"/>
                  </a:cubicBezTo>
                  <a:cubicBezTo>
                    <a:pt x="13" y="0"/>
                    <a:pt x="19" y="0"/>
                    <a:pt x="24" y="4"/>
                  </a:cubicBezTo>
                  <a:cubicBezTo>
                    <a:pt x="176" y="99"/>
                    <a:pt x="176" y="99"/>
                    <a:pt x="176" y="99"/>
                  </a:cubicBezTo>
                  <a:cubicBezTo>
                    <a:pt x="181" y="102"/>
                    <a:pt x="184" y="107"/>
                    <a:pt x="184" y="112"/>
                  </a:cubicBezTo>
                  <a:cubicBezTo>
                    <a:pt x="184" y="118"/>
                    <a:pt x="181" y="123"/>
                    <a:pt x="176" y="126"/>
                  </a:cubicBezTo>
                  <a:cubicBezTo>
                    <a:pt x="24" y="221"/>
                    <a:pt x="24" y="221"/>
                    <a:pt x="24" y="221"/>
                  </a:cubicBezTo>
                  <a:cubicBezTo>
                    <a:pt x="21" y="223"/>
                    <a:pt x="18" y="223"/>
                    <a:pt x="16" y="223"/>
                  </a:cubicBezTo>
                  <a:close/>
                  <a:moveTo>
                    <a:pt x="32" y="46"/>
                  </a:moveTo>
                  <a:cubicBezTo>
                    <a:pt x="32" y="179"/>
                    <a:pt x="32" y="179"/>
                    <a:pt x="32" y="179"/>
                  </a:cubicBezTo>
                  <a:cubicBezTo>
                    <a:pt x="138" y="112"/>
                    <a:pt x="138" y="112"/>
                    <a:pt x="138" y="112"/>
                  </a:cubicBezTo>
                  <a:lnTo>
                    <a:pt x="32" y="4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" name="ExtraShape5"/>
            <p:cNvSpPr/>
            <p:nvPr/>
          </p:nvSpPr>
          <p:spPr bwMode="auto">
            <a:xfrm>
              <a:off x="6484117" y="4275801"/>
              <a:ext cx="845432" cy="773125"/>
            </a:xfrm>
            <a:custGeom>
              <a:avLst/>
              <a:gdLst>
                <a:gd name="T0" fmla="*/ 407 w 439"/>
                <a:gd name="T1" fmla="*/ 402 h 402"/>
                <a:gd name="T2" fmla="*/ 31 w 439"/>
                <a:gd name="T3" fmla="*/ 402 h 402"/>
                <a:gd name="T4" fmla="*/ 0 w 439"/>
                <a:gd name="T5" fmla="*/ 371 h 402"/>
                <a:gd name="T6" fmla="*/ 0 w 439"/>
                <a:gd name="T7" fmla="*/ 32 h 402"/>
                <a:gd name="T8" fmla="*/ 31 w 439"/>
                <a:gd name="T9" fmla="*/ 0 h 402"/>
                <a:gd name="T10" fmla="*/ 407 w 439"/>
                <a:gd name="T11" fmla="*/ 0 h 402"/>
                <a:gd name="T12" fmla="*/ 439 w 439"/>
                <a:gd name="T13" fmla="*/ 32 h 402"/>
                <a:gd name="T14" fmla="*/ 439 w 439"/>
                <a:gd name="T15" fmla="*/ 371 h 402"/>
                <a:gd name="T16" fmla="*/ 407 w 439"/>
                <a:gd name="T17" fmla="*/ 402 h 402"/>
                <a:gd name="T18" fmla="*/ 407 w 439"/>
                <a:gd name="T19" fmla="*/ 32 h 402"/>
                <a:gd name="T20" fmla="*/ 31 w 439"/>
                <a:gd name="T21" fmla="*/ 32 h 402"/>
                <a:gd name="T22" fmla="*/ 32 w 439"/>
                <a:gd name="T23" fmla="*/ 371 h 402"/>
                <a:gd name="T24" fmla="*/ 407 w 439"/>
                <a:gd name="T25" fmla="*/ 370 h 402"/>
                <a:gd name="T26" fmla="*/ 407 w 439"/>
                <a:gd name="T27" fmla="*/ 32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9" h="402">
                  <a:moveTo>
                    <a:pt x="407" y="402"/>
                  </a:moveTo>
                  <a:cubicBezTo>
                    <a:pt x="31" y="402"/>
                    <a:pt x="31" y="402"/>
                    <a:pt x="31" y="402"/>
                  </a:cubicBezTo>
                  <a:cubicBezTo>
                    <a:pt x="14" y="402"/>
                    <a:pt x="0" y="388"/>
                    <a:pt x="0" y="37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07" y="0"/>
                    <a:pt x="407" y="0"/>
                    <a:pt x="407" y="0"/>
                  </a:cubicBezTo>
                  <a:cubicBezTo>
                    <a:pt x="425" y="0"/>
                    <a:pt x="439" y="14"/>
                    <a:pt x="439" y="32"/>
                  </a:cubicBezTo>
                  <a:cubicBezTo>
                    <a:pt x="439" y="371"/>
                    <a:pt x="439" y="371"/>
                    <a:pt x="439" y="371"/>
                  </a:cubicBezTo>
                  <a:cubicBezTo>
                    <a:pt x="439" y="388"/>
                    <a:pt x="425" y="402"/>
                    <a:pt x="407" y="402"/>
                  </a:cubicBezTo>
                  <a:close/>
                  <a:moveTo>
                    <a:pt x="407" y="32"/>
                  </a:moveTo>
                  <a:cubicBezTo>
                    <a:pt x="31" y="32"/>
                    <a:pt x="31" y="32"/>
                    <a:pt x="31" y="32"/>
                  </a:cubicBezTo>
                  <a:cubicBezTo>
                    <a:pt x="32" y="371"/>
                    <a:pt x="32" y="371"/>
                    <a:pt x="32" y="371"/>
                  </a:cubicBezTo>
                  <a:cubicBezTo>
                    <a:pt x="407" y="370"/>
                    <a:pt x="407" y="370"/>
                    <a:pt x="407" y="370"/>
                  </a:cubicBezTo>
                  <a:lnTo>
                    <a:pt x="407" y="3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  <p:sp>
        <p:nvSpPr>
          <p:cNvPr id="52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53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3200" dirty="0">
                <a:solidFill>
                  <a:srgbClr val="C0504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3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应用日志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639cf76c-07be-46b7-90ce-58a25aff4b85" descr="iA4AAB+LCAAAAAAABADNV01v2kAQ/S/b9IYq28SAuYUaoh7SRAL1UnHY2gNs6w+0XqSgiP/e8WI34w8cO4GknNjZGfvNmzeP5IldCZ+Nmcl67Ertt4Df5yGXyhV8LXl4F/sQ4N2DjLcglYCEjX8+ZUUWKfrBgx1kWXuM34lIhLtQh9nY+GJgiD+SkGnooAueCHngirVQ+GyMfEseQHoQqSxRyR30WHYYOGnRrYx3W4360MvB9AmYr3EQSwImK85Tr0nq/WolPFhsIARdhVcLEambyJ9vuJ9Dn0ix3qgIkiQL3P/6DZ4iZWMbC/Ujdfou2eDDP83w4ziGgThrQdvtQQ/eCHrUCfR06g5OgR5SrSgponUVNTM+s/rqEamexHEAPKqWH2deV+68v+Zsg2rOImBMo/38TPMSqhvUD9CaTtzZjA6wANvqALt/Cd2dgO0OZlYD7OvOwiuU292Vh/VLRCgiH19Grc+k63gruS9QPFmetksUmNwXuU05lbDSXoUtzsGLI78hy06zauKWjnN0Z1AgE31TQkJuc6bZTASpk99E6wCP1lDPCue2he+YmzZ35ECHTLY8VF3/+f2FVgqIPyJtSaZM3WkBj2QoJck8EzrsTrQmKSnQXENl+v7WTDYeaIej8vZS3dVrrb6Jo/BqpJLiTqXipZaIS5+AylY13+x/wVRE1AMKF6+gpH9yzuUDpcS5OCX59lyAkgn3/pydEst4i0GZRiuHMq0Tm+O8g0VZDZQ5lBjdTBHzxyXSEZndrQp/Azsz3t6rWlPaeKAtVv7SaFzMo+z+L7Nq4qQ03hdOlJfKfyvn5+XCjnVOXpaHvyD7gqaIDgAA"/>
          <p:cNvGrpSpPr>
            <a:grpSpLocks noChangeAspect="1"/>
          </p:cNvGrpSpPr>
          <p:nvPr/>
        </p:nvGrpSpPr>
        <p:grpSpPr>
          <a:xfrm>
            <a:off x="2104400" y="1129097"/>
            <a:ext cx="7983201" cy="4599807"/>
            <a:chOff x="2862599" y="1219965"/>
            <a:chExt cx="7983201" cy="4599807"/>
          </a:xfrm>
        </p:grpSpPr>
        <p:sp>
          <p:nvSpPr>
            <p:cNvPr id="3" name="ExtraShape1"/>
            <p:cNvSpPr/>
            <p:nvPr/>
          </p:nvSpPr>
          <p:spPr bwMode="auto">
            <a:xfrm>
              <a:off x="5966352" y="3856038"/>
              <a:ext cx="1313208" cy="1963734"/>
            </a:xfrm>
            <a:custGeom>
              <a:avLst/>
              <a:gdLst>
                <a:gd name="T0" fmla="*/ 130 w 520"/>
                <a:gd name="T1" fmla="*/ 0 h 778"/>
                <a:gd name="T2" fmla="*/ 0 w 520"/>
                <a:gd name="T3" fmla="*/ 0 h 778"/>
                <a:gd name="T4" fmla="*/ 0 w 520"/>
                <a:gd name="T5" fmla="*/ 778 h 778"/>
                <a:gd name="T6" fmla="*/ 130 w 520"/>
                <a:gd name="T7" fmla="*/ 778 h 778"/>
                <a:gd name="T8" fmla="*/ 520 w 520"/>
                <a:gd name="T9" fmla="*/ 389 h 778"/>
                <a:gd name="T10" fmla="*/ 130 w 520"/>
                <a:gd name="T11" fmla="*/ 0 h 7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0" h="778">
                  <a:moveTo>
                    <a:pt x="13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78"/>
                    <a:pt x="0" y="778"/>
                    <a:pt x="0" y="778"/>
                  </a:cubicBezTo>
                  <a:cubicBezTo>
                    <a:pt x="130" y="778"/>
                    <a:pt x="130" y="778"/>
                    <a:pt x="130" y="778"/>
                  </a:cubicBezTo>
                  <a:cubicBezTo>
                    <a:pt x="345" y="778"/>
                    <a:pt x="520" y="604"/>
                    <a:pt x="520" y="389"/>
                  </a:cubicBezTo>
                  <a:cubicBezTo>
                    <a:pt x="520" y="174"/>
                    <a:pt x="345" y="0"/>
                    <a:pt x="130" y="0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" name="ExtraShape2"/>
            <p:cNvSpPr/>
            <p:nvPr/>
          </p:nvSpPr>
          <p:spPr bwMode="auto">
            <a:xfrm>
              <a:off x="4983878" y="3856038"/>
              <a:ext cx="1967380" cy="1963734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" name="ExtraShape3"/>
            <p:cNvSpPr/>
            <p:nvPr/>
          </p:nvSpPr>
          <p:spPr bwMode="auto">
            <a:xfrm>
              <a:off x="5596708" y="4186772"/>
              <a:ext cx="738072" cy="1302266"/>
            </a:xfrm>
            <a:custGeom>
              <a:avLst/>
              <a:gdLst>
                <a:gd name="T0" fmla="*/ 292 w 292"/>
                <a:gd name="T1" fmla="*/ 332 h 516"/>
                <a:gd name="T2" fmla="*/ 82 w 292"/>
                <a:gd name="T3" fmla="*/ 168 h 516"/>
                <a:gd name="T4" fmla="*/ 144 w 292"/>
                <a:gd name="T5" fmla="*/ 127 h 516"/>
                <a:gd name="T6" fmla="*/ 212 w 292"/>
                <a:gd name="T7" fmla="*/ 180 h 516"/>
                <a:gd name="T8" fmla="*/ 287 w 292"/>
                <a:gd name="T9" fmla="*/ 180 h 516"/>
                <a:gd name="T10" fmla="*/ 177 w 292"/>
                <a:gd name="T11" fmla="*/ 65 h 516"/>
                <a:gd name="T12" fmla="*/ 177 w 292"/>
                <a:gd name="T13" fmla="*/ 0 h 516"/>
                <a:gd name="T14" fmla="*/ 117 w 292"/>
                <a:gd name="T15" fmla="*/ 0 h 516"/>
                <a:gd name="T16" fmla="*/ 117 w 292"/>
                <a:gd name="T17" fmla="*/ 65 h 516"/>
                <a:gd name="T18" fmla="*/ 6 w 292"/>
                <a:gd name="T19" fmla="*/ 168 h 516"/>
                <a:gd name="T20" fmla="*/ 218 w 292"/>
                <a:gd name="T21" fmla="*/ 333 h 516"/>
                <a:gd name="T22" fmla="*/ 151 w 292"/>
                <a:gd name="T23" fmla="*/ 376 h 516"/>
                <a:gd name="T24" fmla="*/ 78 w 292"/>
                <a:gd name="T25" fmla="*/ 322 h 516"/>
                <a:gd name="T26" fmla="*/ 0 w 292"/>
                <a:gd name="T27" fmla="*/ 322 h 516"/>
                <a:gd name="T28" fmla="*/ 117 w 292"/>
                <a:gd name="T29" fmla="*/ 437 h 516"/>
                <a:gd name="T30" fmla="*/ 117 w 292"/>
                <a:gd name="T31" fmla="*/ 516 h 516"/>
                <a:gd name="T32" fmla="*/ 177 w 292"/>
                <a:gd name="T33" fmla="*/ 516 h 516"/>
                <a:gd name="T34" fmla="*/ 177 w 292"/>
                <a:gd name="T35" fmla="*/ 439 h 516"/>
                <a:gd name="T36" fmla="*/ 292 w 292"/>
                <a:gd name="T37" fmla="*/ 332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2" h="516">
                  <a:moveTo>
                    <a:pt x="292" y="332"/>
                  </a:moveTo>
                  <a:cubicBezTo>
                    <a:pt x="288" y="200"/>
                    <a:pt x="82" y="241"/>
                    <a:pt x="82" y="168"/>
                  </a:cubicBezTo>
                  <a:cubicBezTo>
                    <a:pt x="82" y="143"/>
                    <a:pt x="103" y="127"/>
                    <a:pt x="144" y="127"/>
                  </a:cubicBezTo>
                  <a:cubicBezTo>
                    <a:pt x="185" y="127"/>
                    <a:pt x="209" y="149"/>
                    <a:pt x="212" y="180"/>
                  </a:cubicBezTo>
                  <a:cubicBezTo>
                    <a:pt x="287" y="180"/>
                    <a:pt x="287" y="180"/>
                    <a:pt x="287" y="180"/>
                  </a:cubicBezTo>
                  <a:cubicBezTo>
                    <a:pt x="284" y="117"/>
                    <a:pt x="242" y="75"/>
                    <a:pt x="177" y="65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17" y="65"/>
                    <a:pt x="117" y="65"/>
                    <a:pt x="117" y="65"/>
                  </a:cubicBezTo>
                  <a:cubicBezTo>
                    <a:pt x="48" y="74"/>
                    <a:pt x="6" y="117"/>
                    <a:pt x="6" y="168"/>
                  </a:cubicBezTo>
                  <a:cubicBezTo>
                    <a:pt x="6" y="302"/>
                    <a:pt x="218" y="261"/>
                    <a:pt x="218" y="333"/>
                  </a:cubicBezTo>
                  <a:cubicBezTo>
                    <a:pt x="218" y="358"/>
                    <a:pt x="195" y="376"/>
                    <a:pt x="151" y="376"/>
                  </a:cubicBezTo>
                  <a:cubicBezTo>
                    <a:pt x="109" y="376"/>
                    <a:pt x="81" y="352"/>
                    <a:pt x="78" y="322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3" y="379"/>
                    <a:pt x="49" y="425"/>
                    <a:pt x="117" y="437"/>
                  </a:cubicBezTo>
                  <a:cubicBezTo>
                    <a:pt x="117" y="516"/>
                    <a:pt x="117" y="516"/>
                    <a:pt x="117" y="516"/>
                  </a:cubicBezTo>
                  <a:cubicBezTo>
                    <a:pt x="177" y="516"/>
                    <a:pt x="177" y="516"/>
                    <a:pt x="177" y="516"/>
                  </a:cubicBezTo>
                  <a:cubicBezTo>
                    <a:pt x="177" y="439"/>
                    <a:pt x="177" y="439"/>
                    <a:pt x="177" y="439"/>
                  </a:cubicBezTo>
                  <a:cubicBezTo>
                    <a:pt x="248" y="431"/>
                    <a:pt x="292" y="387"/>
                    <a:pt x="292" y="332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" name="ValueShape1"/>
            <p:cNvSpPr/>
            <p:nvPr/>
          </p:nvSpPr>
          <p:spPr bwMode="auto">
            <a:xfrm>
              <a:off x="3094038" y="1219965"/>
              <a:ext cx="2270125" cy="226695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10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  <a:gs pos="69000">
                  <a:schemeClr val="accent1">
                    <a:lumMod val="100000"/>
                  </a:schemeClr>
                </a:gs>
                <a:gs pos="69100">
                  <a:schemeClr val="accent1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" name="ValueShape2"/>
            <p:cNvSpPr/>
            <p:nvPr/>
          </p:nvSpPr>
          <p:spPr bwMode="auto">
            <a:xfrm>
              <a:off x="6900863" y="1219965"/>
              <a:ext cx="2270125" cy="2266950"/>
            </a:xfrm>
            <a:prstGeom prst="ellipse">
              <a:avLst/>
            </a:prstGeom>
            <a:gradFill flip="none" rotWithShape="1">
              <a:gsLst>
                <a:gs pos="0">
                  <a:schemeClr val="accent2">
                    <a:lumMod val="100000"/>
                  </a:schemeClr>
                </a:gs>
                <a:gs pos="100000">
                  <a:schemeClr val="accent2">
                    <a:lumMod val="20000"/>
                    <a:lumOff val="80000"/>
                  </a:schemeClr>
                </a:gs>
                <a:gs pos="50000">
                  <a:schemeClr val="accent2">
                    <a:lumMod val="100000"/>
                  </a:schemeClr>
                </a:gs>
                <a:gs pos="50100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" name="ValueBack1"/>
            <p:cNvSpPr/>
            <p:nvPr/>
          </p:nvSpPr>
          <p:spPr bwMode="auto">
            <a:xfrm>
              <a:off x="5643563" y="1608902"/>
              <a:ext cx="976313" cy="631825"/>
            </a:xfrm>
            <a:custGeom>
              <a:avLst/>
              <a:gdLst>
                <a:gd name="T0" fmla="*/ 615 w 615"/>
                <a:gd name="T1" fmla="*/ 199 h 398"/>
                <a:gd name="T2" fmla="*/ 404 w 615"/>
                <a:gd name="T3" fmla="*/ 0 h 398"/>
                <a:gd name="T4" fmla="*/ 404 w 615"/>
                <a:gd name="T5" fmla="*/ 133 h 398"/>
                <a:gd name="T6" fmla="*/ 0 w 615"/>
                <a:gd name="T7" fmla="*/ 133 h 398"/>
                <a:gd name="T8" fmla="*/ 0 w 615"/>
                <a:gd name="T9" fmla="*/ 266 h 398"/>
                <a:gd name="T10" fmla="*/ 404 w 615"/>
                <a:gd name="T11" fmla="*/ 266 h 398"/>
                <a:gd name="T12" fmla="*/ 404 w 615"/>
                <a:gd name="T13" fmla="*/ 398 h 398"/>
                <a:gd name="T14" fmla="*/ 615 w 615"/>
                <a:gd name="T15" fmla="*/ 199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5" h="398">
                  <a:moveTo>
                    <a:pt x="615" y="199"/>
                  </a:moveTo>
                  <a:lnTo>
                    <a:pt x="404" y="0"/>
                  </a:lnTo>
                  <a:lnTo>
                    <a:pt x="404" y="133"/>
                  </a:lnTo>
                  <a:lnTo>
                    <a:pt x="0" y="133"/>
                  </a:lnTo>
                  <a:lnTo>
                    <a:pt x="0" y="266"/>
                  </a:lnTo>
                  <a:lnTo>
                    <a:pt x="404" y="266"/>
                  </a:lnTo>
                  <a:lnTo>
                    <a:pt x="404" y="398"/>
                  </a:lnTo>
                  <a:lnTo>
                    <a:pt x="615" y="199"/>
                  </a:lnTo>
                  <a:close/>
                </a:path>
              </a:pathLst>
            </a:custGeom>
            <a:solidFill>
              <a:schemeClr val="accent1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" name="ValueBack2"/>
            <p:cNvSpPr/>
            <p:nvPr/>
          </p:nvSpPr>
          <p:spPr bwMode="auto">
            <a:xfrm>
              <a:off x="5643563" y="2466152"/>
              <a:ext cx="976313" cy="631825"/>
            </a:xfrm>
            <a:custGeom>
              <a:avLst/>
              <a:gdLst>
                <a:gd name="T0" fmla="*/ 0 w 615"/>
                <a:gd name="T1" fmla="*/ 199 h 398"/>
                <a:gd name="T2" fmla="*/ 212 w 615"/>
                <a:gd name="T3" fmla="*/ 398 h 398"/>
                <a:gd name="T4" fmla="*/ 212 w 615"/>
                <a:gd name="T5" fmla="*/ 265 h 398"/>
                <a:gd name="T6" fmla="*/ 615 w 615"/>
                <a:gd name="T7" fmla="*/ 265 h 398"/>
                <a:gd name="T8" fmla="*/ 615 w 615"/>
                <a:gd name="T9" fmla="*/ 132 h 398"/>
                <a:gd name="T10" fmla="*/ 212 w 615"/>
                <a:gd name="T11" fmla="*/ 132 h 398"/>
                <a:gd name="T12" fmla="*/ 212 w 615"/>
                <a:gd name="T13" fmla="*/ 0 h 398"/>
                <a:gd name="T14" fmla="*/ 0 w 615"/>
                <a:gd name="T15" fmla="*/ 199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5" h="398">
                  <a:moveTo>
                    <a:pt x="0" y="199"/>
                  </a:moveTo>
                  <a:lnTo>
                    <a:pt x="212" y="398"/>
                  </a:lnTo>
                  <a:lnTo>
                    <a:pt x="212" y="265"/>
                  </a:lnTo>
                  <a:lnTo>
                    <a:pt x="615" y="265"/>
                  </a:lnTo>
                  <a:lnTo>
                    <a:pt x="615" y="132"/>
                  </a:lnTo>
                  <a:lnTo>
                    <a:pt x="212" y="132"/>
                  </a:lnTo>
                  <a:lnTo>
                    <a:pt x="212" y="0"/>
                  </a:lnTo>
                  <a:lnTo>
                    <a:pt x="0" y="199"/>
                  </a:ln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" name="ValueText1"/>
            <p:cNvSpPr txBox="1"/>
            <p:nvPr/>
          </p:nvSpPr>
          <p:spPr>
            <a:xfrm>
              <a:off x="3887963" y="3667274"/>
              <a:ext cx="682274" cy="435248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1">
                      <a:lumMod val="100000"/>
                    </a:schemeClr>
                  </a:solidFill>
                  <a:latin typeface="Impact" panose="020B0806030902050204" pitchFamily="34" charset="0"/>
                </a:rPr>
                <a:t>69%</a:t>
              </a:r>
              <a:endParaRPr lang="en-US" altLang="zh-CN" sz="3600" b="1" dirty="0">
                <a:solidFill>
                  <a:schemeClr val="accent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1" name="ValueText2"/>
            <p:cNvSpPr txBox="1"/>
            <p:nvPr/>
          </p:nvSpPr>
          <p:spPr>
            <a:xfrm>
              <a:off x="7694788" y="3667274"/>
              <a:ext cx="682274" cy="435248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2">
                      <a:lumMod val="100000"/>
                    </a:schemeClr>
                  </a:solidFill>
                  <a:latin typeface="Impact" panose="020B0806030902050204" pitchFamily="34" charset="0"/>
                </a:rPr>
                <a:t>50%</a:t>
              </a:r>
              <a:endParaRPr lang="en-US" altLang="zh-CN" sz="3600" b="1" dirty="0">
                <a:solidFill>
                  <a:schemeClr val="accent2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2" name="ExtraShape1"/>
            <p:cNvSpPr/>
            <p:nvPr/>
          </p:nvSpPr>
          <p:spPr bwMode="auto">
            <a:xfrm>
              <a:off x="7475538" y="1691452"/>
              <a:ext cx="1120775" cy="1268413"/>
            </a:xfrm>
            <a:custGeom>
              <a:avLst/>
              <a:gdLst>
                <a:gd name="connsiteX0" fmla="*/ 560388 w 1120775"/>
                <a:gd name="connsiteY0" fmla="*/ 0 h 1268413"/>
                <a:gd name="connsiteX1" fmla="*/ 933451 w 1120775"/>
                <a:gd name="connsiteY1" fmla="*/ 370682 h 1268413"/>
                <a:gd name="connsiteX2" fmla="*/ 635573 w 1120775"/>
                <a:gd name="connsiteY2" fmla="*/ 733833 h 1268413"/>
                <a:gd name="connsiteX3" fmla="*/ 560393 w 1120775"/>
                <a:gd name="connsiteY3" fmla="*/ 741364 h 1268413"/>
                <a:gd name="connsiteX4" fmla="*/ 668834 w 1120775"/>
                <a:gd name="connsiteY4" fmla="*/ 751985 h 1268413"/>
                <a:gd name="connsiteX5" fmla="*/ 1120775 w 1120775"/>
                <a:gd name="connsiteY5" fmla="*/ 1268413 h 1268413"/>
                <a:gd name="connsiteX6" fmla="*/ 0 w 1120775"/>
                <a:gd name="connsiteY6" fmla="*/ 1268413 h 1268413"/>
                <a:gd name="connsiteX7" fmla="*/ 451942 w 1120775"/>
                <a:gd name="connsiteY7" fmla="*/ 751985 h 1268413"/>
                <a:gd name="connsiteX8" fmla="*/ 560383 w 1120775"/>
                <a:gd name="connsiteY8" fmla="*/ 741364 h 1268413"/>
                <a:gd name="connsiteX9" fmla="*/ 485203 w 1120775"/>
                <a:gd name="connsiteY9" fmla="*/ 733833 h 1268413"/>
                <a:gd name="connsiteX10" fmla="*/ 187325 w 1120775"/>
                <a:gd name="connsiteY10" fmla="*/ 370682 h 1268413"/>
                <a:gd name="connsiteX11" fmla="*/ 560388 w 1120775"/>
                <a:gd name="connsiteY11" fmla="*/ 0 h 1268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0775" h="1268413">
                  <a:moveTo>
                    <a:pt x="560388" y="0"/>
                  </a:moveTo>
                  <a:cubicBezTo>
                    <a:pt x="766425" y="0"/>
                    <a:pt x="933451" y="165960"/>
                    <a:pt x="933451" y="370682"/>
                  </a:cubicBezTo>
                  <a:cubicBezTo>
                    <a:pt x="933451" y="549814"/>
                    <a:pt x="805572" y="699268"/>
                    <a:pt x="635573" y="733833"/>
                  </a:cubicBezTo>
                  <a:lnTo>
                    <a:pt x="560393" y="741364"/>
                  </a:lnTo>
                  <a:lnTo>
                    <a:pt x="668834" y="751985"/>
                  </a:lnTo>
                  <a:cubicBezTo>
                    <a:pt x="914544" y="800759"/>
                    <a:pt x="1103469" y="1011888"/>
                    <a:pt x="1120775" y="1268413"/>
                  </a:cubicBezTo>
                  <a:lnTo>
                    <a:pt x="0" y="1268413"/>
                  </a:lnTo>
                  <a:cubicBezTo>
                    <a:pt x="17306" y="1011888"/>
                    <a:pt x="206231" y="800759"/>
                    <a:pt x="451942" y="751985"/>
                  </a:cubicBezTo>
                  <a:lnTo>
                    <a:pt x="560383" y="741364"/>
                  </a:lnTo>
                  <a:lnTo>
                    <a:pt x="485203" y="733833"/>
                  </a:lnTo>
                  <a:cubicBezTo>
                    <a:pt x="315205" y="699268"/>
                    <a:pt x="187325" y="549814"/>
                    <a:pt x="187325" y="370682"/>
                  </a:cubicBezTo>
                  <a:cubicBezTo>
                    <a:pt x="187325" y="165960"/>
                    <a:pt x="354351" y="0"/>
                    <a:pt x="560388" y="0"/>
                  </a:cubicBezTo>
                  <a:close/>
                </a:path>
              </a:pathLst>
            </a:custGeom>
            <a:solidFill>
              <a:srgbClr val="F8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13" name="ExtraShape2"/>
            <p:cNvSpPr/>
            <p:nvPr/>
          </p:nvSpPr>
          <p:spPr bwMode="auto">
            <a:xfrm>
              <a:off x="3668713" y="1691452"/>
              <a:ext cx="1120775" cy="1268413"/>
            </a:xfrm>
            <a:custGeom>
              <a:avLst/>
              <a:gdLst>
                <a:gd name="connsiteX0" fmla="*/ 560388 w 1120775"/>
                <a:gd name="connsiteY0" fmla="*/ 0 h 1268413"/>
                <a:gd name="connsiteX1" fmla="*/ 933451 w 1120775"/>
                <a:gd name="connsiteY1" fmla="*/ 370682 h 1268413"/>
                <a:gd name="connsiteX2" fmla="*/ 635573 w 1120775"/>
                <a:gd name="connsiteY2" fmla="*/ 733833 h 1268413"/>
                <a:gd name="connsiteX3" fmla="*/ 560393 w 1120775"/>
                <a:gd name="connsiteY3" fmla="*/ 741364 h 1268413"/>
                <a:gd name="connsiteX4" fmla="*/ 668834 w 1120775"/>
                <a:gd name="connsiteY4" fmla="*/ 751985 h 1268413"/>
                <a:gd name="connsiteX5" fmla="*/ 1120775 w 1120775"/>
                <a:gd name="connsiteY5" fmla="*/ 1268413 h 1268413"/>
                <a:gd name="connsiteX6" fmla="*/ 0 w 1120775"/>
                <a:gd name="connsiteY6" fmla="*/ 1268413 h 1268413"/>
                <a:gd name="connsiteX7" fmla="*/ 451941 w 1120775"/>
                <a:gd name="connsiteY7" fmla="*/ 751985 h 1268413"/>
                <a:gd name="connsiteX8" fmla="*/ 560383 w 1120775"/>
                <a:gd name="connsiteY8" fmla="*/ 741364 h 1268413"/>
                <a:gd name="connsiteX9" fmla="*/ 485203 w 1120775"/>
                <a:gd name="connsiteY9" fmla="*/ 733833 h 1268413"/>
                <a:gd name="connsiteX10" fmla="*/ 187325 w 1120775"/>
                <a:gd name="connsiteY10" fmla="*/ 370682 h 1268413"/>
                <a:gd name="connsiteX11" fmla="*/ 560388 w 1120775"/>
                <a:gd name="connsiteY11" fmla="*/ 0 h 1268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0775" h="1268413">
                  <a:moveTo>
                    <a:pt x="560388" y="0"/>
                  </a:moveTo>
                  <a:cubicBezTo>
                    <a:pt x="766425" y="0"/>
                    <a:pt x="933451" y="165960"/>
                    <a:pt x="933451" y="370682"/>
                  </a:cubicBezTo>
                  <a:cubicBezTo>
                    <a:pt x="933451" y="549814"/>
                    <a:pt x="805572" y="699268"/>
                    <a:pt x="635573" y="733833"/>
                  </a:cubicBezTo>
                  <a:lnTo>
                    <a:pt x="560393" y="741364"/>
                  </a:lnTo>
                  <a:lnTo>
                    <a:pt x="668834" y="751985"/>
                  </a:lnTo>
                  <a:cubicBezTo>
                    <a:pt x="914544" y="800759"/>
                    <a:pt x="1103469" y="1011888"/>
                    <a:pt x="1120775" y="1268413"/>
                  </a:cubicBezTo>
                  <a:lnTo>
                    <a:pt x="0" y="1268413"/>
                  </a:lnTo>
                  <a:cubicBezTo>
                    <a:pt x="17306" y="1011888"/>
                    <a:pt x="206231" y="800759"/>
                    <a:pt x="451941" y="751985"/>
                  </a:cubicBezTo>
                  <a:lnTo>
                    <a:pt x="560383" y="741364"/>
                  </a:lnTo>
                  <a:lnTo>
                    <a:pt x="485203" y="733833"/>
                  </a:lnTo>
                  <a:cubicBezTo>
                    <a:pt x="315204" y="699268"/>
                    <a:pt x="187325" y="549814"/>
                    <a:pt x="187325" y="370682"/>
                  </a:cubicBezTo>
                  <a:cubicBezTo>
                    <a:pt x="187325" y="165960"/>
                    <a:pt x="354351" y="0"/>
                    <a:pt x="560388" y="0"/>
                  </a:cubicBezTo>
                  <a:close/>
                </a:path>
              </a:pathLst>
            </a:custGeom>
            <a:solidFill>
              <a:srgbClr val="F8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14" name="CustomText1"/>
            <p:cNvSpPr txBox="1"/>
            <p:nvPr/>
          </p:nvSpPr>
          <p:spPr>
            <a:xfrm>
              <a:off x="2862599" y="4542700"/>
              <a:ext cx="2117631" cy="523220"/>
            </a:xfrm>
            <a:prstGeom prst="rect">
              <a:avLst/>
            </a:prstGeom>
            <a:noFill/>
          </p:spPr>
          <p:txBody>
            <a:bodyPr wrap="square" rtlCol="0">
              <a:normAutofit fontScale="92500"/>
            </a:bodyPr>
            <a:lstStyle/>
            <a:p>
              <a:r>
                <a:rPr lang="en-US" altLang="zh-CN" sz="2800" b="1" dirty="0">
                  <a:solidFill>
                    <a:schemeClr val="tx2"/>
                  </a:solidFill>
                </a:rPr>
                <a:t>TEXT HERE</a:t>
              </a:r>
              <a:endParaRPr lang="en-US" altLang="zh-CN" sz="2800" b="1" dirty="0">
                <a:solidFill>
                  <a:schemeClr val="tx2"/>
                </a:solidFill>
              </a:endParaRPr>
            </a:p>
          </p:txBody>
        </p:sp>
        <p:sp>
          <p:nvSpPr>
            <p:cNvPr id="15" name="CustomText2"/>
            <p:cNvSpPr/>
            <p:nvPr/>
          </p:nvSpPr>
          <p:spPr>
            <a:xfrm>
              <a:off x="2862599" y="4981882"/>
              <a:ext cx="2117631" cy="369332"/>
            </a:xfrm>
            <a:prstGeom prst="rect">
              <a:avLst/>
            </a:prstGeom>
          </p:spPr>
          <p:txBody>
            <a:bodyPr wrap="square">
              <a:normAutofit fontScale="85000" lnSpcReduction="10000"/>
            </a:bodyPr>
            <a:lstStyle/>
            <a:p>
              <a:r>
                <a:rPr lang="en-US" altLang="zh-CN" dirty="0">
                  <a:solidFill>
                    <a:schemeClr val="tx2"/>
                  </a:solidFill>
                </a:rPr>
                <a:t>Supporting text here</a:t>
              </a:r>
              <a:endParaRPr lang="en-US" altLang="zh-CN" dirty="0">
                <a:solidFill>
                  <a:schemeClr val="tx2"/>
                </a:solidFill>
              </a:endParaRPr>
            </a:p>
          </p:txBody>
        </p:sp>
        <p:sp>
          <p:nvSpPr>
            <p:cNvPr id="16" name="CustomText1"/>
            <p:cNvSpPr/>
            <p:nvPr/>
          </p:nvSpPr>
          <p:spPr>
            <a:xfrm>
              <a:off x="7475538" y="4637468"/>
              <a:ext cx="3370262" cy="529080"/>
            </a:xfrm>
            <a:prstGeom prst="rect">
              <a:avLst/>
            </a:prstGeom>
            <a:noFill/>
          </p:spPr>
          <p:txBody>
            <a:bodyPr wrap="none" lIns="0" tIns="0" rIns="0" bIns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285750" indent="-285750">
                <a:lnSpc>
                  <a:spcPct val="120000"/>
                </a:lnSpc>
                <a:buFont typeface="Wingdings" panose="05000000000000000000" pitchFamily="2" charset="2"/>
                <a:buChar char="p"/>
                <a:defRPr/>
              </a:pPr>
              <a:r>
                <a:rPr lang="en-US" altLang="zh-CN" sz="12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Supporting text here Supporting text  </a:t>
              </a:r>
              <a:endParaRPr lang="en-US" altLang="zh-CN" sz="12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pPr marL="285750" indent="-285750">
                <a:lnSpc>
                  <a:spcPct val="120000"/>
                </a:lnSpc>
                <a:buFont typeface="Wingdings" panose="05000000000000000000" pitchFamily="2" charset="2"/>
                <a:buChar char="p"/>
                <a:defRPr/>
              </a:pPr>
              <a:r>
                <a:rPr lang="en-US" altLang="zh-CN" sz="12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Supporting text here Supporting text here</a:t>
              </a:r>
              <a:endParaRPr lang="en-US" altLang="zh-CN" sz="12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sp>
        <p:nvSpPr>
          <p:cNvPr id="19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20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3200" dirty="0">
                <a:solidFill>
                  <a:srgbClr val="C0504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3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应用日志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1b1b9901-973b-481d-84d9-c2102d051cd9" descr="YgcAAB+LCAAAAAAABADFVE1v4jAQ/S9ue2NREr4Kt9I0aA/dVgLtpeLgJkPwbuIgx5GKKv77ToyzTCBQUFX1gvD4zfjNmzd5Z9ciYiPmsha71usV4P9pypX2BY8VTx+zCBK8e1bZCpQWkLPRy7tN8kjSb54UYFFrjD8KKdIiNWE2ctoOhvgbCbmOCfoQipQnvoiFxtoY+Zk/gwpBagvUqoAWs4dut+11nEF/aH/dYYtNVFaskILDNq2KWodQu8+STBFqtlQF7RLo02IhQpgtIQWThVczIfWdjKZLHlWNjJWIl1pCntvA0+sfCDVJG/Ux0ZQ08CJfYvGrIPAexn4QIM9G0r3zSfc/Sfr2AtJ+P/COkx5Q52glZHzImjk3rDn7lmSPsywBLg/Ttw4g6XPkJ2SEb1E7DkmtieKRQA9ZmHEw+kyt67qWeipYGMNgf1MIMxmdQPVKVEPcM3GOCwMaVG5u9piQ20pmFoikXK47GSd49AZmUDi0FfxCbNnbVgITYvPN4R7unq91UiP8HbD5bsSuQ+Yygzcykz2/7PQcXK6z0SivqdygZPn+uUKePNAG3f29pa5rdlpzD1vbnTBKWH4Xcd9z0HZLq6Wugj+cdqe+///hR8w15uHfE5J0jo55/0Al8b5cEjPJsyQxjV+iyAcmuUSR+eYfcYc1L2IHAAA="/>
          <p:cNvGrpSpPr>
            <a:grpSpLocks noChangeAspect="1"/>
          </p:cNvGrpSpPr>
          <p:nvPr/>
        </p:nvGrpSpPr>
        <p:grpSpPr>
          <a:xfrm>
            <a:off x="4407232" y="1319629"/>
            <a:ext cx="3377536" cy="4218742"/>
            <a:chOff x="4349147" y="1303620"/>
            <a:chExt cx="3377536" cy="4218742"/>
          </a:xfrm>
        </p:grpSpPr>
        <p:sp>
          <p:nvSpPr>
            <p:cNvPr id="3" name="ValueBack"/>
            <p:cNvSpPr/>
            <p:nvPr/>
          </p:nvSpPr>
          <p:spPr bwMode="auto">
            <a:xfrm>
              <a:off x="4349147" y="1303620"/>
              <a:ext cx="3219264" cy="3346382"/>
            </a:xfrm>
            <a:custGeom>
              <a:avLst/>
              <a:gdLst>
                <a:gd name="T0" fmla="*/ 1868 w 1877"/>
                <a:gd name="T1" fmla="*/ 675 h 1954"/>
                <a:gd name="T2" fmla="*/ 1602 w 1877"/>
                <a:gd name="T3" fmla="*/ 507 h 1954"/>
                <a:gd name="T4" fmla="*/ 1553 w 1877"/>
                <a:gd name="T5" fmla="*/ 252 h 1954"/>
                <a:gd name="T6" fmla="*/ 1438 w 1877"/>
                <a:gd name="T7" fmla="*/ 169 h 1954"/>
                <a:gd name="T8" fmla="*/ 1180 w 1877"/>
                <a:gd name="T9" fmla="*/ 201 h 1954"/>
                <a:gd name="T10" fmla="*/ 938 w 1877"/>
                <a:gd name="T11" fmla="*/ 0 h 1954"/>
                <a:gd name="T12" fmla="*/ 696 w 1877"/>
                <a:gd name="T13" fmla="*/ 200 h 1954"/>
                <a:gd name="T14" fmla="*/ 677 w 1877"/>
                <a:gd name="T15" fmla="*/ 206 h 1954"/>
                <a:gd name="T16" fmla="*/ 422 w 1877"/>
                <a:gd name="T17" fmla="*/ 167 h 1954"/>
                <a:gd name="T18" fmla="*/ 285 w 1877"/>
                <a:gd name="T19" fmla="*/ 491 h 1954"/>
                <a:gd name="T20" fmla="*/ 58 w 1877"/>
                <a:gd name="T21" fmla="*/ 616 h 1954"/>
                <a:gd name="T22" fmla="*/ 14 w 1877"/>
                <a:gd name="T23" fmla="*/ 752 h 1954"/>
                <a:gd name="T24" fmla="*/ 124 w 1877"/>
                <a:gd name="T25" fmla="*/ 986 h 1954"/>
                <a:gd name="T26" fmla="*/ 8 w 1877"/>
                <a:gd name="T27" fmla="*/ 1279 h 1954"/>
                <a:gd name="T28" fmla="*/ 274 w 1877"/>
                <a:gd name="T29" fmla="*/ 1447 h 1954"/>
                <a:gd name="T30" fmla="*/ 323 w 1877"/>
                <a:gd name="T31" fmla="*/ 1702 h 1954"/>
                <a:gd name="T32" fmla="*/ 438 w 1877"/>
                <a:gd name="T33" fmla="*/ 1785 h 1954"/>
                <a:gd name="T34" fmla="*/ 696 w 1877"/>
                <a:gd name="T35" fmla="*/ 1753 h 1954"/>
                <a:gd name="T36" fmla="*/ 938 w 1877"/>
                <a:gd name="T37" fmla="*/ 1954 h 1954"/>
                <a:gd name="T38" fmla="*/ 1181 w 1877"/>
                <a:gd name="T39" fmla="*/ 1753 h 1954"/>
                <a:gd name="T40" fmla="*/ 1438 w 1877"/>
                <a:gd name="T41" fmla="*/ 1785 h 1954"/>
                <a:gd name="T42" fmla="*/ 1553 w 1877"/>
                <a:gd name="T43" fmla="*/ 1702 h 1954"/>
                <a:gd name="T44" fmla="*/ 1602 w 1877"/>
                <a:gd name="T45" fmla="*/ 1447 h 1954"/>
                <a:gd name="T46" fmla="*/ 1868 w 1877"/>
                <a:gd name="T47" fmla="*/ 1279 h 1954"/>
                <a:gd name="T48" fmla="*/ 1752 w 1877"/>
                <a:gd name="T49" fmla="*/ 986 h 1954"/>
                <a:gd name="T50" fmla="*/ 1862 w 1877"/>
                <a:gd name="T51" fmla="*/ 752 h 1954"/>
                <a:gd name="T52" fmla="*/ 1791 w 1877"/>
                <a:gd name="T53" fmla="*/ 1238 h 1954"/>
                <a:gd name="T54" fmla="*/ 1781 w 1877"/>
                <a:gd name="T55" fmla="*/ 1267 h 1954"/>
                <a:gd name="T56" fmla="*/ 1512 w 1877"/>
                <a:gd name="T57" fmla="*/ 1451 h 1954"/>
                <a:gd name="T58" fmla="*/ 1450 w 1877"/>
                <a:gd name="T59" fmla="*/ 1708 h 1954"/>
                <a:gd name="T60" fmla="*/ 1195 w 1877"/>
                <a:gd name="T61" fmla="*/ 1668 h 1954"/>
                <a:gd name="T62" fmla="*/ 953 w 1877"/>
                <a:gd name="T63" fmla="*/ 1869 h 1954"/>
                <a:gd name="T64" fmla="*/ 752 w 1877"/>
                <a:gd name="T65" fmla="*/ 1698 h 1954"/>
                <a:gd name="T66" fmla="*/ 665 w 1877"/>
                <a:gd name="T67" fmla="*/ 1670 h 1954"/>
                <a:gd name="T68" fmla="*/ 401 w 1877"/>
                <a:gd name="T69" fmla="*/ 1690 h 1954"/>
                <a:gd name="T70" fmla="*/ 310 w 1877"/>
                <a:gd name="T71" fmla="*/ 1377 h 1954"/>
                <a:gd name="T72" fmla="*/ 83 w 1877"/>
                <a:gd name="T73" fmla="*/ 1255 h 1954"/>
                <a:gd name="T74" fmla="*/ 195 w 1877"/>
                <a:gd name="T75" fmla="*/ 1023 h 1954"/>
                <a:gd name="T76" fmla="*/ 85 w 1877"/>
                <a:gd name="T77" fmla="*/ 716 h 1954"/>
                <a:gd name="T78" fmla="*/ 94 w 1877"/>
                <a:gd name="T79" fmla="*/ 687 h 1954"/>
                <a:gd name="T80" fmla="*/ 364 w 1877"/>
                <a:gd name="T81" fmla="*/ 503 h 1954"/>
                <a:gd name="T82" fmla="*/ 426 w 1877"/>
                <a:gd name="T83" fmla="*/ 246 h 1954"/>
                <a:gd name="T84" fmla="*/ 681 w 1877"/>
                <a:gd name="T85" fmla="*/ 286 h 1954"/>
                <a:gd name="T86" fmla="*/ 752 w 1877"/>
                <a:gd name="T87" fmla="*/ 256 h 1954"/>
                <a:gd name="T88" fmla="*/ 953 w 1877"/>
                <a:gd name="T89" fmla="*/ 85 h 1954"/>
                <a:gd name="T90" fmla="*/ 1195 w 1877"/>
                <a:gd name="T91" fmla="*/ 286 h 1954"/>
                <a:gd name="T92" fmla="*/ 1451 w 1877"/>
                <a:gd name="T93" fmla="*/ 247 h 1954"/>
                <a:gd name="T94" fmla="*/ 1513 w 1877"/>
                <a:gd name="T95" fmla="*/ 504 h 1954"/>
                <a:gd name="T96" fmla="*/ 1782 w 1877"/>
                <a:gd name="T97" fmla="*/ 687 h 1954"/>
                <a:gd name="T98" fmla="*/ 1792 w 1877"/>
                <a:gd name="T99" fmla="*/ 716 h 1954"/>
                <a:gd name="T100" fmla="*/ 1681 w 1877"/>
                <a:gd name="T101" fmla="*/ 1023 h 1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877" h="1954">
                  <a:moveTo>
                    <a:pt x="1862" y="752"/>
                  </a:moveTo>
                  <a:cubicBezTo>
                    <a:pt x="1874" y="728"/>
                    <a:pt x="1876" y="701"/>
                    <a:pt x="1868" y="675"/>
                  </a:cubicBezTo>
                  <a:cubicBezTo>
                    <a:pt x="1859" y="650"/>
                    <a:pt x="1842" y="629"/>
                    <a:pt x="1818" y="617"/>
                  </a:cubicBezTo>
                  <a:cubicBezTo>
                    <a:pt x="1602" y="507"/>
                    <a:pt x="1602" y="507"/>
                    <a:pt x="1602" y="507"/>
                  </a:cubicBezTo>
                  <a:cubicBezTo>
                    <a:pt x="1596" y="504"/>
                    <a:pt x="1591" y="498"/>
                    <a:pt x="1591" y="492"/>
                  </a:cubicBezTo>
                  <a:cubicBezTo>
                    <a:pt x="1553" y="252"/>
                    <a:pt x="1553" y="252"/>
                    <a:pt x="1553" y="252"/>
                  </a:cubicBezTo>
                  <a:cubicBezTo>
                    <a:pt x="1545" y="203"/>
                    <a:pt x="1503" y="168"/>
                    <a:pt x="1454" y="168"/>
                  </a:cubicBezTo>
                  <a:cubicBezTo>
                    <a:pt x="1449" y="168"/>
                    <a:pt x="1443" y="168"/>
                    <a:pt x="1438" y="169"/>
                  </a:cubicBezTo>
                  <a:cubicBezTo>
                    <a:pt x="1199" y="207"/>
                    <a:pt x="1199" y="207"/>
                    <a:pt x="1199" y="207"/>
                  </a:cubicBezTo>
                  <a:cubicBezTo>
                    <a:pt x="1192" y="208"/>
                    <a:pt x="1185" y="206"/>
                    <a:pt x="1180" y="201"/>
                  </a:cubicBezTo>
                  <a:cubicBezTo>
                    <a:pt x="1009" y="29"/>
                    <a:pt x="1009" y="29"/>
                    <a:pt x="1009" y="29"/>
                  </a:cubicBezTo>
                  <a:cubicBezTo>
                    <a:pt x="991" y="10"/>
                    <a:pt x="965" y="0"/>
                    <a:pt x="938" y="0"/>
                  </a:cubicBezTo>
                  <a:cubicBezTo>
                    <a:pt x="911" y="0"/>
                    <a:pt x="886" y="10"/>
                    <a:pt x="867" y="29"/>
                  </a:cubicBezTo>
                  <a:cubicBezTo>
                    <a:pt x="696" y="200"/>
                    <a:pt x="696" y="200"/>
                    <a:pt x="696" y="200"/>
                  </a:cubicBezTo>
                  <a:cubicBezTo>
                    <a:pt x="692" y="204"/>
                    <a:pt x="686" y="207"/>
                    <a:pt x="681" y="207"/>
                  </a:cubicBezTo>
                  <a:cubicBezTo>
                    <a:pt x="679" y="207"/>
                    <a:pt x="678" y="207"/>
                    <a:pt x="677" y="206"/>
                  </a:cubicBezTo>
                  <a:cubicBezTo>
                    <a:pt x="438" y="168"/>
                    <a:pt x="438" y="168"/>
                    <a:pt x="438" y="168"/>
                  </a:cubicBezTo>
                  <a:cubicBezTo>
                    <a:pt x="433" y="168"/>
                    <a:pt x="427" y="167"/>
                    <a:pt x="422" y="167"/>
                  </a:cubicBezTo>
                  <a:cubicBezTo>
                    <a:pt x="373" y="167"/>
                    <a:pt x="331" y="203"/>
                    <a:pt x="323" y="252"/>
                  </a:cubicBezTo>
                  <a:cubicBezTo>
                    <a:pt x="285" y="491"/>
                    <a:pt x="285" y="491"/>
                    <a:pt x="285" y="491"/>
                  </a:cubicBezTo>
                  <a:cubicBezTo>
                    <a:pt x="284" y="498"/>
                    <a:pt x="280" y="504"/>
                    <a:pt x="274" y="507"/>
                  </a:cubicBezTo>
                  <a:cubicBezTo>
                    <a:pt x="58" y="616"/>
                    <a:pt x="58" y="616"/>
                    <a:pt x="58" y="616"/>
                  </a:cubicBezTo>
                  <a:cubicBezTo>
                    <a:pt x="34" y="628"/>
                    <a:pt x="17" y="649"/>
                    <a:pt x="8" y="675"/>
                  </a:cubicBezTo>
                  <a:cubicBezTo>
                    <a:pt x="0" y="700"/>
                    <a:pt x="2" y="728"/>
                    <a:pt x="14" y="752"/>
                  </a:cubicBezTo>
                  <a:cubicBezTo>
                    <a:pt x="124" y="967"/>
                    <a:pt x="124" y="967"/>
                    <a:pt x="124" y="967"/>
                  </a:cubicBezTo>
                  <a:cubicBezTo>
                    <a:pt x="127" y="973"/>
                    <a:pt x="127" y="980"/>
                    <a:pt x="124" y="986"/>
                  </a:cubicBezTo>
                  <a:cubicBezTo>
                    <a:pt x="14" y="1202"/>
                    <a:pt x="14" y="1202"/>
                    <a:pt x="14" y="1202"/>
                  </a:cubicBezTo>
                  <a:cubicBezTo>
                    <a:pt x="2" y="1226"/>
                    <a:pt x="0" y="1253"/>
                    <a:pt x="8" y="1279"/>
                  </a:cubicBezTo>
                  <a:cubicBezTo>
                    <a:pt x="17" y="1304"/>
                    <a:pt x="34" y="1325"/>
                    <a:pt x="58" y="1337"/>
                  </a:cubicBezTo>
                  <a:cubicBezTo>
                    <a:pt x="274" y="1447"/>
                    <a:pt x="274" y="1447"/>
                    <a:pt x="274" y="1447"/>
                  </a:cubicBezTo>
                  <a:cubicBezTo>
                    <a:pt x="280" y="1450"/>
                    <a:pt x="285" y="1456"/>
                    <a:pt x="285" y="1462"/>
                  </a:cubicBezTo>
                  <a:cubicBezTo>
                    <a:pt x="323" y="1702"/>
                    <a:pt x="323" y="1702"/>
                    <a:pt x="323" y="1702"/>
                  </a:cubicBezTo>
                  <a:cubicBezTo>
                    <a:pt x="331" y="1751"/>
                    <a:pt x="373" y="1786"/>
                    <a:pt x="422" y="1786"/>
                  </a:cubicBezTo>
                  <a:cubicBezTo>
                    <a:pt x="427" y="1786"/>
                    <a:pt x="433" y="1786"/>
                    <a:pt x="438" y="1785"/>
                  </a:cubicBezTo>
                  <a:cubicBezTo>
                    <a:pt x="677" y="1747"/>
                    <a:pt x="677" y="1747"/>
                    <a:pt x="677" y="1747"/>
                  </a:cubicBezTo>
                  <a:cubicBezTo>
                    <a:pt x="684" y="1746"/>
                    <a:pt x="691" y="1748"/>
                    <a:pt x="696" y="1753"/>
                  </a:cubicBezTo>
                  <a:cubicBezTo>
                    <a:pt x="867" y="1924"/>
                    <a:pt x="867" y="1924"/>
                    <a:pt x="867" y="1924"/>
                  </a:cubicBezTo>
                  <a:cubicBezTo>
                    <a:pt x="886" y="1944"/>
                    <a:pt x="911" y="1954"/>
                    <a:pt x="938" y="1954"/>
                  </a:cubicBezTo>
                  <a:cubicBezTo>
                    <a:pt x="965" y="1954"/>
                    <a:pt x="990" y="1944"/>
                    <a:pt x="1009" y="1924"/>
                  </a:cubicBezTo>
                  <a:cubicBezTo>
                    <a:pt x="1181" y="1753"/>
                    <a:pt x="1181" y="1753"/>
                    <a:pt x="1181" y="1753"/>
                  </a:cubicBezTo>
                  <a:cubicBezTo>
                    <a:pt x="1185" y="1748"/>
                    <a:pt x="1192" y="1746"/>
                    <a:pt x="1199" y="1747"/>
                  </a:cubicBezTo>
                  <a:cubicBezTo>
                    <a:pt x="1438" y="1785"/>
                    <a:pt x="1438" y="1785"/>
                    <a:pt x="1438" y="1785"/>
                  </a:cubicBezTo>
                  <a:cubicBezTo>
                    <a:pt x="1443" y="1786"/>
                    <a:pt x="1449" y="1786"/>
                    <a:pt x="1454" y="1786"/>
                  </a:cubicBezTo>
                  <a:cubicBezTo>
                    <a:pt x="1504" y="1786"/>
                    <a:pt x="1546" y="1751"/>
                    <a:pt x="1553" y="1702"/>
                  </a:cubicBezTo>
                  <a:cubicBezTo>
                    <a:pt x="1591" y="1462"/>
                    <a:pt x="1591" y="1462"/>
                    <a:pt x="1591" y="1462"/>
                  </a:cubicBezTo>
                  <a:cubicBezTo>
                    <a:pt x="1592" y="1456"/>
                    <a:pt x="1596" y="1450"/>
                    <a:pt x="1602" y="1447"/>
                  </a:cubicBezTo>
                  <a:cubicBezTo>
                    <a:pt x="1818" y="1337"/>
                    <a:pt x="1818" y="1337"/>
                    <a:pt x="1818" y="1337"/>
                  </a:cubicBezTo>
                  <a:cubicBezTo>
                    <a:pt x="1842" y="1325"/>
                    <a:pt x="1860" y="1304"/>
                    <a:pt x="1868" y="1279"/>
                  </a:cubicBezTo>
                  <a:cubicBezTo>
                    <a:pt x="1877" y="1253"/>
                    <a:pt x="1874" y="1226"/>
                    <a:pt x="1862" y="1202"/>
                  </a:cubicBezTo>
                  <a:cubicBezTo>
                    <a:pt x="1752" y="986"/>
                    <a:pt x="1752" y="986"/>
                    <a:pt x="1752" y="986"/>
                  </a:cubicBezTo>
                  <a:cubicBezTo>
                    <a:pt x="1749" y="980"/>
                    <a:pt x="1749" y="973"/>
                    <a:pt x="1752" y="967"/>
                  </a:cubicBezTo>
                  <a:lnTo>
                    <a:pt x="1862" y="752"/>
                  </a:lnTo>
                  <a:close/>
                  <a:moveTo>
                    <a:pt x="1681" y="1023"/>
                  </a:moveTo>
                  <a:cubicBezTo>
                    <a:pt x="1791" y="1238"/>
                    <a:pt x="1791" y="1238"/>
                    <a:pt x="1791" y="1238"/>
                  </a:cubicBezTo>
                  <a:cubicBezTo>
                    <a:pt x="1793" y="1244"/>
                    <a:pt x="1794" y="1249"/>
                    <a:pt x="1792" y="1255"/>
                  </a:cubicBezTo>
                  <a:cubicBezTo>
                    <a:pt x="1791" y="1260"/>
                    <a:pt x="1787" y="1265"/>
                    <a:pt x="1781" y="1267"/>
                  </a:cubicBezTo>
                  <a:cubicBezTo>
                    <a:pt x="1565" y="1377"/>
                    <a:pt x="1565" y="1377"/>
                    <a:pt x="1565" y="1377"/>
                  </a:cubicBezTo>
                  <a:cubicBezTo>
                    <a:pt x="1537" y="1391"/>
                    <a:pt x="1517" y="1419"/>
                    <a:pt x="1512" y="1451"/>
                  </a:cubicBezTo>
                  <a:cubicBezTo>
                    <a:pt x="1474" y="1690"/>
                    <a:pt x="1474" y="1690"/>
                    <a:pt x="1474" y="1690"/>
                  </a:cubicBezTo>
                  <a:cubicBezTo>
                    <a:pt x="1473" y="1701"/>
                    <a:pt x="1461" y="1710"/>
                    <a:pt x="1450" y="1708"/>
                  </a:cubicBezTo>
                  <a:cubicBezTo>
                    <a:pt x="1211" y="1670"/>
                    <a:pt x="1211" y="1670"/>
                    <a:pt x="1211" y="1670"/>
                  </a:cubicBezTo>
                  <a:cubicBezTo>
                    <a:pt x="1205" y="1669"/>
                    <a:pt x="1200" y="1668"/>
                    <a:pt x="1195" y="1668"/>
                  </a:cubicBezTo>
                  <a:cubicBezTo>
                    <a:pt x="1168" y="1668"/>
                    <a:pt x="1143" y="1679"/>
                    <a:pt x="1123" y="1698"/>
                  </a:cubicBezTo>
                  <a:cubicBezTo>
                    <a:pt x="953" y="1869"/>
                    <a:pt x="953" y="1869"/>
                    <a:pt x="953" y="1869"/>
                  </a:cubicBezTo>
                  <a:cubicBezTo>
                    <a:pt x="945" y="1877"/>
                    <a:pt x="931" y="1877"/>
                    <a:pt x="923" y="1869"/>
                  </a:cubicBezTo>
                  <a:cubicBezTo>
                    <a:pt x="752" y="1698"/>
                    <a:pt x="752" y="1698"/>
                    <a:pt x="752" y="1698"/>
                  </a:cubicBezTo>
                  <a:cubicBezTo>
                    <a:pt x="733" y="1679"/>
                    <a:pt x="707" y="1668"/>
                    <a:pt x="681" y="1668"/>
                  </a:cubicBezTo>
                  <a:cubicBezTo>
                    <a:pt x="676" y="1668"/>
                    <a:pt x="670" y="1669"/>
                    <a:pt x="665" y="1670"/>
                  </a:cubicBezTo>
                  <a:cubicBezTo>
                    <a:pt x="426" y="1708"/>
                    <a:pt x="426" y="1708"/>
                    <a:pt x="426" y="1708"/>
                  </a:cubicBezTo>
                  <a:cubicBezTo>
                    <a:pt x="414" y="1710"/>
                    <a:pt x="403" y="1701"/>
                    <a:pt x="401" y="1690"/>
                  </a:cubicBezTo>
                  <a:cubicBezTo>
                    <a:pt x="364" y="1451"/>
                    <a:pt x="364" y="1451"/>
                    <a:pt x="364" y="1451"/>
                  </a:cubicBezTo>
                  <a:cubicBezTo>
                    <a:pt x="359" y="1419"/>
                    <a:pt x="339" y="1391"/>
                    <a:pt x="310" y="1377"/>
                  </a:cubicBezTo>
                  <a:cubicBezTo>
                    <a:pt x="94" y="1267"/>
                    <a:pt x="94" y="1267"/>
                    <a:pt x="94" y="1267"/>
                  </a:cubicBezTo>
                  <a:cubicBezTo>
                    <a:pt x="89" y="1265"/>
                    <a:pt x="85" y="1260"/>
                    <a:pt x="83" y="1255"/>
                  </a:cubicBezTo>
                  <a:cubicBezTo>
                    <a:pt x="82" y="1249"/>
                    <a:pt x="82" y="1244"/>
                    <a:pt x="85" y="1238"/>
                  </a:cubicBezTo>
                  <a:cubicBezTo>
                    <a:pt x="195" y="1023"/>
                    <a:pt x="195" y="1023"/>
                    <a:pt x="195" y="1023"/>
                  </a:cubicBezTo>
                  <a:cubicBezTo>
                    <a:pt x="209" y="994"/>
                    <a:pt x="209" y="960"/>
                    <a:pt x="195" y="931"/>
                  </a:cubicBezTo>
                  <a:cubicBezTo>
                    <a:pt x="85" y="716"/>
                    <a:pt x="85" y="716"/>
                    <a:pt x="85" y="716"/>
                  </a:cubicBezTo>
                  <a:cubicBezTo>
                    <a:pt x="82" y="710"/>
                    <a:pt x="81" y="705"/>
                    <a:pt x="83" y="699"/>
                  </a:cubicBezTo>
                  <a:cubicBezTo>
                    <a:pt x="85" y="694"/>
                    <a:pt x="89" y="689"/>
                    <a:pt x="94" y="687"/>
                  </a:cubicBezTo>
                  <a:cubicBezTo>
                    <a:pt x="310" y="577"/>
                    <a:pt x="310" y="577"/>
                    <a:pt x="310" y="577"/>
                  </a:cubicBezTo>
                  <a:cubicBezTo>
                    <a:pt x="339" y="563"/>
                    <a:pt x="359" y="535"/>
                    <a:pt x="364" y="503"/>
                  </a:cubicBezTo>
                  <a:cubicBezTo>
                    <a:pt x="401" y="264"/>
                    <a:pt x="401" y="264"/>
                    <a:pt x="401" y="264"/>
                  </a:cubicBezTo>
                  <a:cubicBezTo>
                    <a:pt x="403" y="253"/>
                    <a:pt x="414" y="244"/>
                    <a:pt x="426" y="246"/>
                  </a:cubicBezTo>
                  <a:cubicBezTo>
                    <a:pt x="665" y="284"/>
                    <a:pt x="665" y="284"/>
                    <a:pt x="665" y="284"/>
                  </a:cubicBezTo>
                  <a:cubicBezTo>
                    <a:pt x="670" y="285"/>
                    <a:pt x="675" y="286"/>
                    <a:pt x="681" y="286"/>
                  </a:cubicBezTo>
                  <a:cubicBezTo>
                    <a:pt x="681" y="286"/>
                    <a:pt x="681" y="286"/>
                    <a:pt x="681" y="286"/>
                  </a:cubicBezTo>
                  <a:cubicBezTo>
                    <a:pt x="708" y="286"/>
                    <a:pt x="733" y="275"/>
                    <a:pt x="752" y="256"/>
                  </a:cubicBezTo>
                  <a:cubicBezTo>
                    <a:pt x="923" y="85"/>
                    <a:pt x="923" y="85"/>
                    <a:pt x="923" y="85"/>
                  </a:cubicBezTo>
                  <a:cubicBezTo>
                    <a:pt x="931" y="77"/>
                    <a:pt x="945" y="77"/>
                    <a:pt x="953" y="85"/>
                  </a:cubicBezTo>
                  <a:cubicBezTo>
                    <a:pt x="1124" y="256"/>
                    <a:pt x="1124" y="256"/>
                    <a:pt x="1124" y="256"/>
                  </a:cubicBezTo>
                  <a:cubicBezTo>
                    <a:pt x="1143" y="276"/>
                    <a:pt x="1169" y="286"/>
                    <a:pt x="1195" y="286"/>
                  </a:cubicBezTo>
                  <a:cubicBezTo>
                    <a:pt x="1201" y="286"/>
                    <a:pt x="1206" y="286"/>
                    <a:pt x="1211" y="285"/>
                  </a:cubicBezTo>
                  <a:cubicBezTo>
                    <a:pt x="1451" y="247"/>
                    <a:pt x="1451" y="247"/>
                    <a:pt x="1451" y="247"/>
                  </a:cubicBezTo>
                  <a:cubicBezTo>
                    <a:pt x="1462" y="245"/>
                    <a:pt x="1473" y="253"/>
                    <a:pt x="1475" y="264"/>
                  </a:cubicBezTo>
                  <a:cubicBezTo>
                    <a:pt x="1513" y="504"/>
                    <a:pt x="1513" y="504"/>
                    <a:pt x="1513" y="504"/>
                  </a:cubicBezTo>
                  <a:cubicBezTo>
                    <a:pt x="1517" y="535"/>
                    <a:pt x="1538" y="563"/>
                    <a:pt x="1566" y="578"/>
                  </a:cubicBezTo>
                  <a:cubicBezTo>
                    <a:pt x="1782" y="687"/>
                    <a:pt x="1782" y="687"/>
                    <a:pt x="1782" y="687"/>
                  </a:cubicBezTo>
                  <a:cubicBezTo>
                    <a:pt x="1787" y="690"/>
                    <a:pt x="1791" y="694"/>
                    <a:pt x="1793" y="700"/>
                  </a:cubicBezTo>
                  <a:cubicBezTo>
                    <a:pt x="1795" y="705"/>
                    <a:pt x="1794" y="711"/>
                    <a:pt x="1792" y="716"/>
                  </a:cubicBezTo>
                  <a:cubicBezTo>
                    <a:pt x="1682" y="932"/>
                    <a:pt x="1682" y="932"/>
                    <a:pt x="1682" y="932"/>
                  </a:cubicBezTo>
                  <a:cubicBezTo>
                    <a:pt x="1667" y="960"/>
                    <a:pt x="1667" y="994"/>
                    <a:pt x="1681" y="1023"/>
                  </a:cubicBezTo>
                  <a:close/>
                </a:path>
              </a:pathLst>
            </a:custGeom>
            <a:solidFill>
              <a:schemeClr val="accent2">
                <a:lumMod val="7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" name="ValueBack"/>
            <p:cNvSpPr/>
            <p:nvPr/>
          </p:nvSpPr>
          <p:spPr bwMode="auto">
            <a:xfrm>
              <a:off x="5138279" y="2043224"/>
              <a:ext cx="1600552" cy="1572487"/>
            </a:xfrm>
            <a:custGeom>
              <a:avLst/>
              <a:gdLst>
                <a:gd name="T0" fmla="*/ 791 w 933"/>
                <a:gd name="T1" fmla="*/ 306 h 918"/>
                <a:gd name="T2" fmla="*/ 615 w 933"/>
                <a:gd name="T3" fmla="*/ 306 h 918"/>
                <a:gd name="T4" fmla="*/ 615 w 933"/>
                <a:gd name="T5" fmla="*/ 184 h 918"/>
                <a:gd name="T6" fmla="*/ 556 w 933"/>
                <a:gd name="T7" fmla="*/ 44 h 918"/>
                <a:gd name="T8" fmla="*/ 410 w 933"/>
                <a:gd name="T9" fmla="*/ 25 h 918"/>
                <a:gd name="T10" fmla="*/ 382 w 933"/>
                <a:gd name="T11" fmla="*/ 63 h 918"/>
                <a:gd name="T12" fmla="*/ 382 w 933"/>
                <a:gd name="T13" fmla="*/ 219 h 918"/>
                <a:gd name="T14" fmla="*/ 246 w 933"/>
                <a:gd name="T15" fmla="*/ 370 h 918"/>
                <a:gd name="T16" fmla="*/ 238 w 933"/>
                <a:gd name="T17" fmla="*/ 373 h 918"/>
                <a:gd name="T18" fmla="*/ 191 w 933"/>
                <a:gd name="T19" fmla="*/ 357 h 918"/>
                <a:gd name="T20" fmla="*/ 78 w 933"/>
                <a:gd name="T21" fmla="*/ 357 h 918"/>
                <a:gd name="T22" fmla="*/ 0 w 933"/>
                <a:gd name="T23" fmla="*/ 435 h 918"/>
                <a:gd name="T24" fmla="*/ 0 w 933"/>
                <a:gd name="T25" fmla="*/ 826 h 918"/>
                <a:gd name="T26" fmla="*/ 78 w 933"/>
                <a:gd name="T27" fmla="*/ 904 h 918"/>
                <a:gd name="T28" fmla="*/ 191 w 933"/>
                <a:gd name="T29" fmla="*/ 904 h 918"/>
                <a:gd name="T30" fmla="*/ 242 w 933"/>
                <a:gd name="T31" fmla="*/ 885 h 918"/>
                <a:gd name="T32" fmla="*/ 332 w 933"/>
                <a:gd name="T33" fmla="*/ 918 h 918"/>
                <a:gd name="T34" fmla="*/ 715 w 933"/>
                <a:gd name="T35" fmla="*/ 918 h 918"/>
                <a:gd name="T36" fmla="*/ 881 w 933"/>
                <a:gd name="T37" fmla="*/ 781 h 918"/>
                <a:gd name="T38" fmla="*/ 933 w 933"/>
                <a:gd name="T39" fmla="*/ 454 h 918"/>
                <a:gd name="T40" fmla="*/ 933 w 933"/>
                <a:gd name="T41" fmla="*/ 448 h 918"/>
                <a:gd name="T42" fmla="*/ 791 w 933"/>
                <a:gd name="T43" fmla="*/ 306 h 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33" h="918">
                  <a:moveTo>
                    <a:pt x="791" y="306"/>
                  </a:moveTo>
                  <a:cubicBezTo>
                    <a:pt x="615" y="306"/>
                    <a:pt x="615" y="306"/>
                    <a:pt x="615" y="306"/>
                  </a:cubicBezTo>
                  <a:cubicBezTo>
                    <a:pt x="615" y="184"/>
                    <a:pt x="615" y="184"/>
                    <a:pt x="615" y="184"/>
                  </a:cubicBezTo>
                  <a:cubicBezTo>
                    <a:pt x="615" y="119"/>
                    <a:pt x="595" y="72"/>
                    <a:pt x="556" y="44"/>
                  </a:cubicBezTo>
                  <a:cubicBezTo>
                    <a:pt x="497" y="0"/>
                    <a:pt x="419" y="22"/>
                    <a:pt x="410" y="25"/>
                  </a:cubicBezTo>
                  <a:cubicBezTo>
                    <a:pt x="393" y="30"/>
                    <a:pt x="382" y="46"/>
                    <a:pt x="382" y="63"/>
                  </a:cubicBezTo>
                  <a:cubicBezTo>
                    <a:pt x="382" y="219"/>
                    <a:pt x="382" y="219"/>
                    <a:pt x="382" y="219"/>
                  </a:cubicBezTo>
                  <a:cubicBezTo>
                    <a:pt x="382" y="329"/>
                    <a:pt x="251" y="368"/>
                    <a:pt x="246" y="370"/>
                  </a:cubicBezTo>
                  <a:cubicBezTo>
                    <a:pt x="243" y="370"/>
                    <a:pt x="240" y="372"/>
                    <a:pt x="238" y="373"/>
                  </a:cubicBezTo>
                  <a:cubicBezTo>
                    <a:pt x="225" y="363"/>
                    <a:pt x="209" y="357"/>
                    <a:pt x="191" y="357"/>
                  </a:cubicBezTo>
                  <a:cubicBezTo>
                    <a:pt x="78" y="357"/>
                    <a:pt x="78" y="357"/>
                    <a:pt x="78" y="357"/>
                  </a:cubicBezTo>
                  <a:cubicBezTo>
                    <a:pt x="35" y="357"/>
                    <a:pt x="0" y="392"/>
                    <a:pt x="0" y="435"/>
                  </a:cubicBezTo>
                  <a:cubicBezTo>
                    <a:pt x="0" y="826"/>
                    <a:pt x="0" y="826"/>
                    <a:pt x="0" y="826"/>
                  </a:cubicBezTo>
                  <a:cubicBezTo>
                    <a:pt x="0" y="869"/>
                    <a:pt x="35" y="904"/>
                    <a:pt x="78" y="904"/>
                  </a:cubicBezTo>
                  <a:cubicBezTo>
                    <a:pt x="191" y="904"/>
                    <a:pt x="191" y="904"/>
                    <a:pt x="191" y="904"/>
                  </a:cubicBezTo>
                  <a:cubicBezTo>
                    <a:pt x="210" y="904"/>
                    <a:pt x="228" y="897"/>
                    <a:pt x="242" y="885"/>
                  </a:cubicBezTo>
                  <a:cubicBezTo>
                    <a:pt x="267" y="906"/>
                    <a:pt x="298" y="918"/>
                    <a:pt x="332" y="918"/>
                  </a:cubicBezTo>
                  <a:cubicBezTo>
                    <a:pt x="715" y="918"/>
                    <a:pt x="715" y="918"/>
                    <a:pt x="715" y="918"/>
                  </a:cubicBezTo>
                  <a:cubicBezTo>
                    <a:pt x="808" y="918"/>
                    <a:pt x="870" y="867"/>
                    <a:pt x="881" y="781"/>
                  </a:cubicBezTo>
                  <a:cubicBezTo>
                    <a:pt x="933" y="454"/>
                    <a:pt x="933" y="454"/>
                    <a:pt x="933" y="454"/>
                  </a:cubicBezTo>
                  <a:cubicBezTo>
                    <a:pt x="933" y="452"/>
                    <a:pt x="933" y="450"/>
                    <a:pt x="933" y="448"/>
                  </a:cubicBezTo>
                  <a:cubicBezTo>
                    <a:pt x="933" y="370"/>
                    <a:pt x="869" y="306"/>
                    <a:pt x="791" y="306"/>
                  </a:cubicBezTo>
                  <a:close/>
                </a:path>
              </a:pathLst>
            </a:custGeom>
            <a:solidFill>
              <a:schemeClr val="accent2">
                <a:lumMod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/>
            </a:p>
          </p:txBody>
        </p:sp>
        <p:sp>
          <p:nvSpPr>
            <p:cNvPr id="5" name="ValueShape"/>
            <p:cNvSpPr/>
            <p:nvPr/>
          </p:nvSpPr>
          <p:spPr bwMode="auto">
            <a:xfrm>
              <a:off x="5273653" y="2207489"/>
              <a:ext cx="1327329" cy="1274497"/>
            </a:xfrm>
            <a:custGeom>
              <a:avLst/>
              <a:gdLst>
                <a:gd name="connsiteX0" fmla="*/ 0 w 1327329"/>
                <a:gd name="connsiteY0" fmla="*/ 584420 h 1274497"/>
                <a:gd name="connsiteX1" fmla="*/ 190679 w 1327329"/>
                <a:gd name="connsiteY1" fmla="*/ 584420 h 1274497"/>
                <a:gd name="connsiteX2" fmla="*/ 190679 w 1327329"/>
                <a:gd name="connsiteY2" fmla="*/ 1250560 h 1274497"/>
                <a:gd name="connsiteX3" fmla="*/ 0 w 1327329"/>
                <a:gd name="connsiteY3" fmla="*/ 1250560 h 1274497"/>
                <a:gd name="connsiteX4" fmla="*/ 655242 w 1327329"/>
                <a:gd name="connsiteY4" fmla="*/ 0 h 1274497"/>
                <a:gd name="connsiteX5" fmla="*/ 737538 w 1327329"/>
                <a:gd name="connsiteY5" fmla="*/ 20556 h 1274497"/>
                <a:gd name="connsiteX6" fmla="*/ 782116 w 1327329"/>
                <a:gd name="connsiteY6" fmla="*/ 150747 h 1274497"/>
                <a:gd name="connsiteX7" fmla="*/ 782116 w 1327329"/>
                <a:gd name="connsiteY7" fmla="*/ 428258 h 1274497"/>
                <a:gd name="connsiteX8" fmla="*/ 850696 w 1327329"/>
                <a:gd name="connsiteY8" fmla="*/ 496780 h 1274497"/>
                <a:gd name="connsiteX9" fmla="*/ 1221030 w 1327329"/>
                <a:gd name="connsiteY9" fmla="*/ 496780 h 1274497"/>
                <a:gd name="connsiteX10" fmla="*/ 1327329 w 1327329"/>
                <a:gd name="connsiteY10" fmla="*/ 599562 h 1274497"/>
                <a:gd name="connsiteX11" fmla="*/ 1241604 w 1327329"/>
                <a:gd name="connsiteY11" fmla="*/ 1154585 h 1274497"/>
                <a:gd name="connsiteX12" fmla="*/ 1241604 w 1327329"/>
                <a:gd name="connsiteY12" fmla="*/ 1158011 h 1274497"/>
                <a:gd name="connsiteX13" fmla="*/ 1092442 w 1327329"/>
                <a:gd name="connsiteY13" fmla="*/ 1274497 h 1274497"/>
                <a:gd name="connsiteX14" fmla="*/ 435785 w 1327329"/>
                <a:gd name="connsiteY14" fmla="*/ 1274497 h 1274497"/>
                <a:gd name="connsiteX15" fmla="*/ 326056 w 1327329"/>
                <a:gd name="connsiteY15" fmla="*/ 1164863 h 1274497"/>
                <a:gd name="connsiteX16" fmla="*/ 326056 w 1327329"/>
                <a:gd name="connsiteY16" fmla="*/ 599562 h 1274497"/>
                <a:gd name="connsiteX17" fmla="*/ 655242 w 1327329"/>
                <a:gd name="connsiteY17" fmla="*/ 212416 h 1274497"/>
                <a:gd name="connsiteX18" fmla="*/ 655242 w 1327329"/>
                <a:gd name="connsiteY18" fmla="*/ 0 h 1274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27329" h="1274497">
                  <a:moveTo>
                    <a:pt x="0" y="584420"/>
                  </a:moveTo>
                  <a:lnTo>
                    <a:pt x="190679" y="584420"/>
                  </a:lnTo>
                  <a:lnTo>
                    <a:pt x="190679" y="1250560"/>
                  </a:lnTo>
                  <a:lnTo>
                    <a:pt x="0" y="1250560"/>
                  </a:lnTo>
                  <a:close/>
                  <a:moveTo>
                    <a:pt x="655242" y="0"/>
                  </a:moveTo>
                  <a:cubicBezTo>
                    <a:pt x="682674" y="0"/>
                    <a:pt x="715250" y="3426"/>
                    <a:pt x="737538" y="20556"/>
                  </a:cubicBezTo>
                  <a:cubicBezTo>
                    <a:pt x="768399" y="41113"/>
                    <a:pt x="782116" y="85652"/>
                    <a:pt x="782116" y="150747"/>
                  </a:cubicBezTo>
                  <a:cubicBezTo>
                    <a:pt x="782116" y="428258"/>
                    <a:pt x="782116" y="428258"/>
                    <a:pt x="782116" y="428258"/>
                  </a:cubicBezTo>
                  <a:cubicBezTo>
                    <a:pt x="782116" y="465945"/>
                    <a:pt x="812977" y="496780"/>
                    <a:pt x="850696" y="496780"/>
                  </a:cubicBezTo>
                  <a:cubicBezTo>
                    <a:pt x="1221030" y="496780"/>
                    <a:pt x="1221030" y="496780"/>
                    <a:pt x="1221030" y="496780"/>
                  </a:cubicBezTo>
                  <a:cubicBezTo>
                    <a:pt x="1279323" y="496780"/>
                    <a:pt x="1325615" y="541318"/>
                    <a:pt x="1327329" y="599562"/>
                  </a:cubicBezTo>
                  <a:lnTo>
                    <a:pt x="1241604" y="1154585"/>
                  </a:lnTo>
                  <a:cubicBezTo>
                    <a:pt x="1241604" y="1156298"/>
                    <a:pt x="1241604" y="1156298"/>
                    <a:pt x="1241604" y="1158011"/>
                  </a:cubicBezTo>
                  <a:cubicBezTo>
                    <a:pt x="1238175" y="1188846"/>
                    <a:pt x="1227888" y="1274497"/>
                    <a:pt x="1092442" y="1274497"/>
                  </a:cubicBezTo>
                  <a:cubicBezTo>
                    <a:pt x="435785" y="1274497"/>
                    <a:pt x="435785" y="1274497"/>
                    <a:pt x="435785" y="1274497"/>
                  </a:cubicBezTo>
                  <a:cubicBezTo>
                    <a:pt x="375777" y="1274497"/>
                    <a:pt x="326056" y="1224819"/>
                    <a:pt x="326056" y="1164863"/>
                  </a:cubicBezTo>
                  <a:cubicBezTo>
                    <a:pt x="326056" y="599562"/>
                    <a:pt x="326056" y="599562"/>
                    <a:pt x="326056" y="599562"/>
                  </a:cubicBezTo>
                  <a:cubicBezTo>
                    <a:pt x="365490" y="587571"/>
                    <a:pt x="655242" y="489927"/>
                    <a:pt x="655242" y="212416"/>
                  </a:cubicBezTo>
                  <a:cubicBezTo>
                    <a:pt x="655242" y="0"/>
                    <a:pt x="655242" y="0"/>
                    <a:pt x="655242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100000"/>
                  </a:schemeClr>
                </a:gs>
                <a:gs pos="100000">
                  <a:schemeClr val="accent2">
                    <a:lumMod val="20000"/>
                    <a:lumOff val="80000"/>
                  </a:schemeClr>
                </a:gs>
                <a:gs pos="44231">
                  <a:schemeClr val="accent2">
                    <a:lumMod val="100000"/>
                  </a:schemeClr>
                </a:gs>
                <a:gs pos="44331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6" name="ValueText"/>
            <p:cNvSpPr txBox="1"/>
            <p:nvPr/>
          </p:nvSpPr>
          <p:spPr>
            <a:xfrm>
              <a:off x="4454944" y="4843950"/>
              <a:ext cx="766521" cy="574891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2">
                      <a:lumMod val="100000"/>
                    </a:schemeClr>
                  </a:solidFill>
                  <a:latin typeface="Impact" panose="020B0806030902050204" pitchFamily="34" charset="0"/>
                </a:rPr>
                <a:t>44%</a:t>
              </a:r>
              <a:endParaRPr lang="en-US" altLang="zh-CN" sz="3600" b="1" dirty="0">
                <a:solidFill>
                  <a:schemeClr val="accent2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7" name="CustomText"/>
            <p:cNvSpPr/>
            <p:nvPr/>
          </p:nvSpPr>
          <p:spPr>
            <a:xfrm flipH="1">
              <a:off x="5395468" y="4776788"/>
              <a:ext cx="2331212" cy="405790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77500" lnSpcReduction="20000"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3200" b="1" strike="noStrike" kern="1200" cap="none" spc="0" normalizeH="0" baseline="0" noProof="0" dirty="0"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</a:rPr>
                <a:t>TEXT HERE</a:t>
              </a:r>
              <a:endParaRPr kumimoji="0" lang="en-US" altLang="zh-CN" sz="3200" b="1" strike="noStrike" kern="1200" cap="none" spc="0" normalizeH="0" baseline="0" noProof="0" dirty="0">
                <a:solidFill>
                  <a:schemeClr val="tx2">
                    <a:lumMod val="60000"/>
                    <a:lumOff val="40000"/>
                  </a:schemeClr>
                </a:solidFill>
                <a:effectLst/>
                <a:uLnTx/>
                <a:uFillTx/>
              </a:endParaRPr>
            </a:p>
          </p:txBody>
        </p:sp>
        <p:sp>
          <p:nvSpPr>
            <p:cNvPr id="8" name="CustomText1"/>
            <p:cNvSpPr/>
            <p:nvPr/>
          </p:nvSpPr>
          <p:spPr>
            <a:xfrm flipH="1">
              <a:off x="5395470" y="5193028"/>
              <a:ext cx="2331213" cy="329334"/>
            </a:xfrm>
            <a:prstGeom prst="rect">
              <a:avLst/>
            </a:prstGeom>
            <a:noFill/>
          </p:spPr>
          <p:txBody>
            <a:bodyPr wrap="square" lIns="90000" tIns="46800" rIns="90000" bIns="46800">
              <a:normAutofit fontScale="92500" lnSpcReduction="10000"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</a:rPr>
                <a:t>Supporting text here</a:t>
              </a:r>
              <a:endParaRPr kumimoji="0" lang="en-US" altLang="zh-CN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60000"/>
                    <a:lumOff val="40000"/>
                  </a:schemeClr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1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12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3200" dirty="0">
                <a:solidFill>
                  <a:srgbClr val="C0504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3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应用日志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3d6e7165-b942-41d5-9499-59a73dfd6d51" descr="3RQAAB+LCAAAAAAABADNWE1v4jAQ/S/e7g1ViQMO4QYNVHvothJVLysO2cSAd/OBnCAVVfz3dUyyjMmHkpKgcqjwZCZ5fvPmxfQD3TEPTZCOBuguOeyo+L4MHJ7YzNlwJ3iKPOqLay882lGeMBqjya+PrAiDojfH39Ms6yDiTyxkwT6QYTTR7jURct5BSNdk0KYuCxzfZhuWiHuLyI/4hXKXhkmWmPA9HaBsMcJp0SOP9juJ+jjIwRgAzEPkRxyAyYrz1CFIfV6vmUtftzSgskpcemVhMg295dbxcugzzjbbJKRxnAWef/+hbgLKJiNRKG8p0/fxVtz820J8LEvTBM5S0KPmoMmVoMetQM/nNqkCbUKtJJyFmyJqpH1H5dVjUD2LIp86YbH81POycuv2mhtrUHMYgNG15v3T9T5UR8obiOcze7GADVRg4xawjT50VwHbJgtcA3vYWnhK+ai98pR6cnvpEXJvaCax8OkvJsMzNgNiM1t0dNyHEM0qJ3mYqvanwLaaw8ZaH0KshL0gqgFC2FhvLUSlHLcXoqhfCYQs9MTDlHcwnM9H7nhMSCnLk+9tITd+ULlNOeV0ncFCS+pGoVeTNUqzSuJYxh1xTKAJ5bG8coEEXM2ZRgvmp0eKabjxxRKbsleibzv6U+SmmztxIEM6Wh2Lx4/z85WtKIg7TVuB9kEbeqXvgO0LLZyZMtszKHcfK/yVcJQ+vzFFlwu4qcJJBGqoXDfluE8iKml7CjVtu5uanRjgmCbZ2OVT+j+YCgLOs3LhEywYla01VBZI7yzk4u+BhZnj/u2EBfMaS9G1Rp6i44qRsG5gKriGJQsSIzejYu48ETI/bm8t4lTUmsjm3tKYqcsF3FXhLV87VScBfS1zqaPhoqOFFWDCKPxe6J6Jng2mKyb0qzzGbOYxVsVo6OQGJmPUMUUUbkxlpfpFZ5mQfdzeZ7D+CTKbG00LtgoruLPCv4HqJ8z8el5Ty4RZ02NTZWLYPxM9e811TKyO/wAi9fCx3RQAAA=="/>
          <p:cNvGrpSpPr>
            <a:grpSpLocks noChangeAspect="1"/>
          </p:cNvGrpSpPr>
          <p:nvPr/>
        </p:nvGrpSpPr>
        <p:grpSpPr>
          <a:xfrm>
            <a:off x="3378972" y="1356834"/>
            <a:ext cx="5434057" cy="4144332"/>
            <a:chOff x="3242820" y="1356834"/>
            <a:chExt cx="5434057" cy="4144332"/>
          </a:xfrm>
        </p:grpSpPr>
        <p:sp>
          <p:nvSpPr>
            <p:cNvPr id="3" name="ValueText1"/>
            <p:cNvSpPr txBox="1"/>
            <p:nvPr/>
          </p:nvSpPr>
          <p:spPr>
            <a:xfrm>
              <a:off x="6527719" y="5093774"/>
              <a:ext cx="622491" cy="397110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1">
                      <a:lumMod val="100000"/>
                    </a:schemeClr>
                  </a:solidFill>
                  <a:latin typeface="Impact" panose="020B0806030902050204" pitchFamily="34" charset="0"/>
                </a:rPr>
                <a:t>52%</a:t>
              </a:r>
              <a:endParaRPr lang="en-US" altLang="zh-CN" sz="3600" b="1" dirty="0">
                <a:solidFill>
                  <a:schemeClr val="accent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4" name="ValueText2"/>
            <p:cNvSpPr txBox="1"/>
            <p:nvPr/>
          </p:nvSpPr>
          <p:spPr>
            <a:xfrm>
              <a:off x="7291053" y="5104056"/>
              <a:ext cx="622491" cy="397110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2">
                      <a:lumMod val="100000"/>
                    </a:schemeClr>
                  </a:solidFill>
                  <a:latin typeface="Impact" panose="020B0806030902050204" pitchFamily="34" charset="0"/>
                </a:rPr>
                <a:t>80%</a:t>
              </a:r>
              <a:endParaRPr lang="en-US" altLang="zh-CN" sz="3600" b="1" dirty="0">
                <a:solidFill>
                  <a:schemeClr val="accent2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5" name="ValueText3"/>
            <p:cNvSpPr txBox="1"/>
            <p:nvPr/>
          </p:nvSpPr>
          <p:spPr>
            <a:xfrm>
              <a:off x="8054386" y="5104056"/>
              <a:ext cx="622491" cy="397110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3">
                      <a:lumMod val="100000"/>
                    </a:schemeClr>
                  </a:solidFill>
                  <a:latin typeface="Impact" panose="020B0806030902050204" pitchFamily="34" charset="0"/>
                </a:rPr>
                <a:t>66%</a:t>
              </a:r>
              <a:endParaRPr lang="en-US" altLang="zh-CN" sz="3600" b="1" dirty="0">
                <a:solidFill>
                  <a:schemeClr val="accent3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6" name="ValueShape1"/>
            <p:cNvSpPr/>
            <p:nvPr/>
          </p:nvSpPr>
          <p:spPr>
            <a:xfrm>
              <a:off x="6591267" y="1356834"/>
              <a:ext cx="370883" cy="3580189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lumMod val="10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  <a:gs pos="52000">
                  <a:schemeClr val="accent1">
                    <a:lumMod val="100000"/>
                  </a:schemeClr>
                </a:gs>
                <a:gs pos="52100">
                  <a:schemeClr val="accent1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ValueShape2"/>
            <p:cNvSpPr/>
            <p:nvPr/>
          </p:nvSpPr>
          <p:spPr>
            <a:xfrm>
              <a:off x="7374299" y="1356835"/>
              <a:ext cx="370883" cy="3580187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2">
                    <a:lumMod val="100000"/>
                  </a:schemeClr>
                </a:gs>
                <a:gs pos="100000">
                  <a:schemeClr val="accent2">
                    <a:lumMod val="20000"/>
                    <a:lumOff val="80000"/>
                  </a:schemeClr>
                </a:gs>
                <a:gs pos="80000">
                  <a:schemeClr val="accent2">
                    <a:lumMod val="100000"/>
                  </a:schemeClr>
                </a:gs>
                <a:gs pos="80100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ValueShape3"/>
            <p:cNvSpPr/>
            <p:nvPr/>
          </p:nvSpPr>
          <p:spPr>
            <a:xfrm>
              <a:off x="8157330" y="1356834"/>
              <a:ext cx="370883" cy="3580189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3">
                    <a:lumMod val="100000"/>
                  </a:schemeClr>
                </a:gs>
                <a:gs pos="100000">
                  <a:schemeClr val="accent3">
                    <a:lumMod val="20000"/>
                    <a:lumOff val="80000"/>
                  </a:schemeClr>
                </a:gs>
                <a:gs pos="66308">
                  <a:schemeClr val="accent3">
                    <a:lumMod val="100000"/>
                  </a:schemeClr>
                </a:gs>
                <a:gs pos="66408">
                  <a:schemeClr val="accent3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ExtraShape1"/>
            <p:cNvSpPr/>
            <p:nvPr/>
          </p:nvSpPr>
          <p:spPr bwMode="auto">
            <a:xfrm>
              <a:off x="3275637" y="1742611"/>
              <a:ext cx="2869973" cy="2862017"/>
            </a:xfrm>
            <a:prstGeom prst="ellipse">
              <a:avLst/>
            </a:prstGeom>
            <a:solidFill>
              <a:srgbClr val="4671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" name="ExtraShape1"/>
            <p:cNvSpPr/>
            <p:nvPr/>
          </p:nvSpPr>
          <p:spPr bwMode="auto">
            <a:xfrm>
              <a:off x="3538171" y="2561040"/>
              <a:ext cx="2344906" cy="1783043"/>
            </a:xfrm>
            <a:custGeom>
              <a:avLst/>
              <a:gdLst>
                <a:gd name="T0" fmla="*/ 864 w 1134"/>
                <a:gd name="T1" fmla="*/ 297 h 864"/>
                <a:gd name="T2" fmla="*/ 729 w 1134"/>
                <a:gd name="T3" fmla="*/ 48 h 864"/>
                <a:gd name="T4" fmla="*/ 567 w 1134"/>
                <a:gd name="T5" fmla="*/ 0 h 864"/>
                <a:gd name="T6" fmla="*/ 405 w 1134"/>
                <a:gd name="T7" fmla="*/ 48 h 864"/>
                <a:gd name="T8" fmla="*/ 270 w 1134"/>
                <a:gd name="T9" fmla="*/ 297 h 864"/>
                <a:gd name="T10" fmla="*/ 0 w 1134"/>
                <a:gd name="T11" fmla="*/ 297 h 864"/>
                <a:gd name="T12" fmla="*/ 258 w 1134"/>
                <a:gd name="T13" fmla="*/ 772 h 864"/>
                <a:gd name="T14" fmla="*/ 567 w 1134"/>
                <a:gd name="T15" fmla="*/ 864 h 864"/>
                <a:gd name="T16" fmla="*/ 876 w 1134"/>
                <a:gd name="T17" fmla="*/ 772 h 864"/>
                <a:gd name="T18" fmla="*/ 1134 w 1134"/>
                <a:gd name="T19" fmla="*/ 297 h 864"/>
                <a:gd name="T20" fmla="*/ 864 w 1134"/>
                <a:gd name="T21" fmla="*/ 297 h 8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34" h="864">
                  <a:moveTo>
                    <a:pt x="864" y="297"/>
                  </a:moveTo>
                  <a:cubicBezTo>
                    <a:pt x="864" y="193"/>
                    <a:pt x="810" y="101"/>
                    <a:pt x="729" y="48"/>
                  </a:cubicBezTo>
                  <a:cubicBezTo>
                    <a:pt x="682" y="18"/>
                    <a:pt x="627" y="0"/>
                    <a:pt x="567" y="0"/>
                  </a:cubicBezTo>
                  <a:cubicBezTo>
                    <a:pt x="507" y="0"/>
                    <a:pt x="452" y="18"/>
                    <a:pt x="405" y="48"/>
                  </a:cubicBezTo>
                  <a:cubicBezTo>
                    <a:pt x="324" y="101"/>
                    <a:pt x="270" y="193"/>
                    <a:pt x="270" y="297"/>
                  </a:cubicBezTo>
                  <a:cubicBezTo>
                    <a:pt x="0" y="297"/>
                    <a:pt x="0" y="297"/>
                    <a:pt x="0" y="297"/>
                  </a:cubicBezTo>
                  <a:cubicBezTo>
                    <a:pt x="0" y="495"/>
                    <a:pt x="103" y="670"/>
                    <a:pt x="258" y="772"/>
                  </a:cubicBezTo>
                  <a:cubicBezTo>
                    <a:pt x="347" y="830"/>
                    <a:pt x="453" y="864"/>
                    <a:pt x="567" y="864"/>
                  </a:cubicBezTo>
                  <a:cubicBezTo>
                    <a:pt x="681" y="864"/>
                    <a:pt x="787" y="830"/>
                    <a:pt x="876" y="772"/>
                  </a:cubicBezTo>
                  <a:cubicBezTo>
                    <a:pt x="1031" y="670"/>
                    <a:pt x="1134" y="495"/>
                    <a:pt x="1134" y="297"/>
                  </a:cubicBezTo>
                  <a:lnTo>
                    <a:pt x="864" y="297"/>
                  </a:lnTo>
                  <a:close/>
                </a:path>
              </a:pathLst>
            </a:custGeom>
            <a:solidFill>
              <a:srgbClr val="A4C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" name="ExtraShape2"/>
            <p:cNvSpPr/>
            <p:nvPr/>
          </p:nvSpPr>
          <p:spPr bwMode="auto">
            <a:xfrm>
              <a:off x="4317818" y="2781807"/>
              <a:ext cx="785613" cy="784619"/>
            </a:xfrm>
            <a:prstGeom prst="ellipse">
              <a:avLst/>
            </a:prstGeom>
            <a:solidFill>
              <a:srgbClr val="F9CF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" name="ValueBack1"/>
            <p:cNvSpPr/>
            <p:nvPr/>
          </p:nvSpPr>
          <p:spPr bwMode="auto">
            <a:xfrm>
              <a:off x="3538171" y="2194090"/>
              <a:ext cx="837324" cy="980524"/>
            </a:xfrm>
            <a:custGeom>
              <a:avLst/>
              <a:gdLst>
                <a:gd name="T0" fmla="*/ 405 w 405"/>
                <a:gd name="T1" fmla="*/ 226 h 475"/>
                <a:gd name="T2" fmla="*/ 258 w 405"/>
                <a:gd name="T3" fmla="*/ 0 h 475"/>
                <a:gd name="T4" fmla="*/ 0 w 405"/>
                <a:gd name="T5" fmla="*/ 475 h 475"/>
                <a:gd name="T6" fmla="*/ 270 w 405"/>
                <a:gd name="T7" fmla="*/ 475 h 475"/>
                <a:gd name="T8" fmla="*/ 405 w 405"/>
                <a:gd name="T9" fmla="*/ 226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5" h="475">
                  <a:moveTo>
                    <a:pt x="405" y="226"/>
                  </a:moveTo>
                  <a:cubicBezTo>
                    <a:pt x="258" y="0"/>
                    <a:pt x="258" y="0"/>
                    <a:pt x="258" y="0"/>
                  </a:cubicBezTo>
                  <a:cubicBezTo>
                    <a:pt x="103" y="101"/>
                    <a:pt x="0" y="276"/>
                    <a:pt x="0" y="475"/>
                  </a:cubicBezTo>
                  <a:cubicBezTo>
                    <a:pt x="270" y="475"/>
                    <a:pt x="270" y="475"/>
                    <a:pt x="270" y="475"/>
                  </a:cubicBezTo>
                  <a:cubicBezTo>
                    <a:pt x="270" y="371"/>
                    <a:pt x="324" y="279"/>
                    <a:pt x="405" y="226"/>
                  </a:cubicBezTo>
                  <a:close/>
                </a:path>
              </a:pathLst>
            </a:custGeom>
            <a:solidFill>
              <a:schemeClr val="accent1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" name="ValueBack2"/>
            <p:cNvSpPr/>
            <p:nvPr/>
          </p:nvSpPr>
          <p:spPr bwMode="auto">
            <a:xfrm>
              <a:off x="4072188" y="2004150"/>
              <a:ext cx="1276870" cy="656334"/>
            </a:xfrm>
            <a:custGeom>
              <a:avLst/>
              <a:gdLst>
                <a:gd name="T0" fmla="*/ 309 w 618"/>
                <a:gd name="T1" fmla="*/ 0 h 318"/>
                <a:gd name="T2" fmla="*/ 0 w 618"/>
                <a:gd name="T3" fmla="*/ 92 h 318"/>
                <a:gd name="T4" fmla="*/ 147 w 618"/>
                <a:gd name="T5" fmla="*/ 318 h 318"/>
                <a:gd name="T6" fmla="*/ 309 w 618"/>
                <a:gd name="T7" fmla="*/ 270 h 318"/>
                <a:gd name="T8" fmla="*/ 471 w 618"/>
                <a:gd name="T9" fmla="*/ 318 h 318"/>
                <a:gd name="T10" fmla="*/ 618 w 618"/>
                <a:gd name="T11" fmla="*/ 92 h 318"/>
                <a:gd name="T12" fmla="*/ 309 w 618"/>
                <a:gd name="T13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8" h="318">
                  <a:moveTo>
                    <a:pt x="309" y="0"/>
                  </a:moveTo>
                  <a:cubicBezTo>
                    <a:pt x="195" y="0"/>
                    <a:pt x="89" y="34"/>
                    <a:pt x="0" y="92"/>
                  </a:cubicBezTo>
                  <a:cubicBezTo>
                    <a:pt x="147" y="318"/>
                    <a:pt x="147" y="318"/>
                    <a:pt x="147" y="318"/>
                  </a:cubicBezTo>
                  <a:cubicBezTo>
                    <a:pt x="194" y="288"/>
                    <a:pt x="249" y="270"/>
                    <a:pt x="309" y="270"/>
                  </a:cubicBezTo>
                  <a:cubicBezTo>
                    <a:pt x="369" y="270"/>
                    <a:pt x="424" y="288"/>
                    <a:pt x="471" y="318"/>
                  </a:cubicBezTo>
                  <a:cubicBezTo>
                    <a:pt x="618" y="92"/>
                    <a:pt x="618" y="92"/>
                    <a:pt x="618" y="92"/>
                  </a:cubicBezTo>
                  <a:cubicBezTo>
                    <a:pt x="529" y="34"/>
                    <a:pt x="423" y="0"/>
                    <a:pt x="309" y="0"/>
                  </a:cubicBez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" name="ValueBack3"/>
            <p:cNvSpPr/>
            <p:nvPr/>
          </p:nvSpPr>
          <p:spPr bwMode="auto">
            <a:xfrm>
              <a:off x="5045752" y="2194090"/>
              <a:ext cx="837324" cy="980524"/>
            </a:xfrm>
            <a:custGeom>
              <a:avLst/>
              <a:gdLst>
                <a:gd name="T0" fmla="*/ 147 w 405"/>
                <a:gd name="T1" fmla="*/ 0 h 475"/>
                <a:gd name="T2" fmla="*/ 0 w 405"/>
                <a:gd name="T3" fmla="*/ 226 h 475"/>
                <a:gd name="T4" fmla="*/ 135 w 405"/>
                <a:gd name="T5" fmla="*/ 475 h 475"/>
                <a:gd name="T6" fmla="*/ 405 w 405"/>
                <a:gd name="T7" fmla="*/ 475 h 475"/>
                <a:gd name="T8" fmla="*/ 147 w 405"/>
                <a:gd name="T9" fmla="*/ 0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5" h="475">
                  <a:moveTo>
                    <a:pt x="147" y="0"/>
                  </a:moveTo>
                  <a:cubicBezTo>
                    <a:pt x="0" y="226"/>
                    <a:pt x="0" y="226"/>
                    <a:pt x="0" y="226"/>
                  </a:cubicBezTo>
                  <a:cubicBezTo>
                    <a:pt x="81" y="279"/>
                    <a:pt x="135" y="371"/>
                    <a:pt x="135" y="475"/>
                  </a:cubicBezTo>
                  <a:cubicBezTo>
                    <a:pt x="405" y="475"/>
                    <a:pt x="405" y="475"/>
                    <a:pt x="405" y="475"/>
                  </a:cubicBezTo>
                  <a:cubicBezTo>
                    <a:pt x="405" y="276"/>
                    <a:pt x="302" y="101"/>
                    <a:pt x="147" y="0"/>
                  </a:cubicBezTo>
                  <a:close/>
                </a:path>
              </a:pathLst>
            </a:custGeom>
            <a:solidFill>
              <a:schemeClr val="accent3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" name="ExtraShape3"/>
            <p:cNvSpPr/>
            <p:nvPr/>
          </p:nvSpPr>
          <p:spPr bwMode="auto">
            <a:xfrm>
              <a:off x="3242820" y="1708800"/>
              <a:ext cx="2935607" cy="2928646"/>
            </a:xfrm>
            <a:custGeom>
              <a:avLst/>
              <a:gdLst>
                <a:gd name="T0" fmla="*/ 710 w 1420"/>
                <a:gd name="T1" fmla="*/ 1419 h 1419"/>
                <a:gd name="T2" fmla="*/ 0 w 1420"/>
                <a:gd name="T3" fmla="*/ 710 h 1419"/>
                <a:gd name="T4" fmla="*/ 710 w 1420"/>
                <a:gd name="T5" fmla="*/ 0 h 1419"/>
                <a:gd name="T6" fmla="*/ 1420 w 1420"/>
                <a:gd name="T7" fmla="*/ 710 h 1419"/>
                <a:gd name="T8" fmla="*/ 710 w 1420"/>
                <a:gd name="T9" fmla="*/ 1419 h 1419"/>
                <a:gd name="T10" fmla="*/ 710 w 1420"/>
                <a:gd name="T11" fmla="*/ 32 h 1419"/>
                <a:gd name="T12" fmla="*/ 32 w 1420"/>
                <a:gd name="T13" fmla="*/ 710 h 1419"/>
                <a:gd name="T14" fmla="*/ 710 w 1420"/>
                <a:gd name="T15" fmla="*/ 1387 h 1419"/>
                <a:gd name="T16" fmla="*/ 1388 w 1420"/>
                <a:gd name="T17" fmla="*/ 710 h 1419"/>
                <a:gd name="T18" fmla="*/ 710 w 1420"/>
                <a:gd name="T19" fmla="*/ 32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20" h="1419">
                  <a:moveTo>
                    <a:pt x="710" y="1419"/>
                  </a:moveTo>
                  <a:cubicBezTo>
                    <a:pt x="319" y="1419"/>
                    <a:pt x="0" y="1101"/>
                    <a:pt x="0" y="710"/>
                  </a:cubicBezTo>
                  <a:cubicBezTo>
                    <a:pt x="0" y="319"/>
                    <a:pt x="319" y="0"/>
                    <a:pt x="710" y="0"/>
                  </a:cubicBezTo>
                  <a:cubicBezTo>
                    <a:pt x="1101" y="0"/>
                    <a:pt x="1420" y="319"/>
                    <a:pt x="1420" y="710"/>
                  </a:cubicBezTo>
                  <a:cubicBezTo>
                    <a:pt x="1420" y="1101"/>
                    <a:pt x="1101" y="1419"/>
                    <a:pt x="710" y="1419"/>
                  </a:cubicBezTo>
                  <a:close/>
                  <a:moveTo>
                    <a:pt x="710" y="32"/>
                  </a:moveTo>
                  <a:cubicBezTo>
                    <a:pt x="336" y="32"/>
                    <a:pt x="32" y="336"/>
                    <a:pt x="32" y="710"/>
                  </a:cubicBezTo>
                  <a:cubicBezTo>
                    <a:pt x="32" y="1083"/>
                    <a:pt x="336" y="1387"/>
                    <a:pt x="710" y="1387"/>
                  </a:cubicBezTo>
                  <a:cubicBezTo>
                    <a:pt x="1084" y="1387"/>
                    <a:pt x="1388" y="1083"/>
                    <a:pt x="1388" y="710"/>
                  </a:cubicBezTo>
                  <a:cubicBezTo>
                    <a:pt x="1388" y="336"/>
                    <a:pt x="1084" y="32"/>
                    <a:pt x="710" y="32"/>
                  </a:cubicBezTo>
                  <a:close/>
                </a:path>
              </a:pathLst>
            </a:custGeom>
            <a:solidFill>
              <a:srgbClr val="3762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" name="ExtraShape3"/>
            <p:cNvSpPr/>
            <p:nvPr/>
          </p:nvSpPr>
          <p:spPr bwMode="auto">
            <a:xfrm>
              <a:off x="4034400" y="1971333"/>
              <a:ext cx="1352448" cy="723958"/>
            </a:xfrm>
            <a:custGeom>
              <a:avLst/>
              <a:gdLst>
                <a:gd name="T0" fmla="*/ 489 w 654"/>
                <a:gd name="T1" fmla="*/ 350 h 351"/>
                <a:gd name="T2" fmla="*/ 480 w 654"/>
                <a:gd name="T3" fmla="*/ 347 h 351"/>
                <a:gd name="T4" fmla="*/ 327 w 654"/>
                <a:gd name="T5" fmla="*/ 302 h 351"/>
                <a:gd name="T6" fmla="*/ 174 w 654"/>
                <a:gd name="T7" fmla="*/ 347 h 351"/>
                <a:gd name="T8" fmla="*/ 162 w 654"/>
                <a:gd name="T9" fmla="*/ 350 h 351"/>
                <a:gd name="T10" fmla="*/ 152 w 654"/>
                <a:gd name="T11" fmla="*/ 343 h 351"/>
                <a:gd name="T12" fmla="*/ 5 w 654"/>
                <a:gd name="T13" fmla="*/ 117 h 351"/>
                <a:gd name="T14" fmla="*/ 9 w 654"/>
                <a:gd name="T15" fmla="*/ 95 h 351"/>
                <a:gd name="T16" fmla="*/ 327 w 654"/>
                <a:gd name="T17" fmla="*/ 0 h 351"/>
                <a:gd name="T18" fmla="*/ 645 w 654"/>
                <a:gd name="T19" fmla="*/ 95 h 351"/>
                <a:gd name="T20" fmla="*/ 649 w 654"/>
                <a:gd name="T21" fmla="*/ 117 h 351"/>
                <a:gd name="T22" fmla="*/ 502 w 654"/>
                <a:gd name="T23" fmla="*/ 343 h 351"/>
                <a:gd name="T24" fmla="*/ 492 w 654"/>
                <a:gd name="T25" fmla="*/ 350 h 351"/>
                <a:gd name="T26" fmla="*/ 489 w 654"/>
                <a:gd name="T27" fmla="*/ 350 h 351"/>
                <a:gd name="T28" fmla="*/ 327 w 654"/>
                <a:gd name="T29" fmla="*/ 270 h 351"/>
                <a:gd name="T30" fmla="*/ 484 w 654"/>
                <a:gd name="T31" fmla="*/ 312 h 351"/>
                <a:gd name="T32" fmla="*/ 614 w 654"/>
                <a:gd name="T33" fmla="*/ 113 h 351"/>
                <a:gd name="T34" fmla="*/ 327 w 654"/>
                <a:gd name="T35" fmla="*/ 32 h 351"/>
                <a:gd name="T36" fmla="*/ 40 w 654"/>
                <a:gd name="T37" fmla="*/ 113 h 351"/>
                <a:gd name="T38" fmla="*/ 170 w 654"/>
                <a:gd name="T39" fmla="*/ 312 h 351"/>
                <a:gd name="T40" fmla="*/ 327 w 654"/>
                <a:gd name="T41" fmla="*/ 27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54" h="351">
                  <a:moveTo>
                    <a:pt x="489" y="350"/>
                  </a:moveTo>
                  <a:cubicBezTo>
                    <a:pt x="486" y="350"/>
                    <a:pt x="483" y="349"/>
                    <a:pt x="480" y="347"/>
                  </a:cubicBezTo>
                  <a:cubicBezTo>
                    <a:pt x="434" y="318"/>
                    <a:pt x="381" y="302"/>
                    <a:pt x="327" y="302"/>
                  </a:cubicBezTo>
                  <a:cubicBezTo>
                    <a:pt x="273" y="302"/>
                    <a:pt x="220" y="318"/>
                    <a:pt x="174" y="347"/>
                  </a:cubicBezTo>
                  <a:cubicBezTo>
                    <a:pt x="170" y="350"/>
                    <a:pt x="166" y="351"/>
                    <a:pt x="162" y="350"/>
                  </a:cubicBezTo>
                  <a:cubicBezTo>
                    <a:pt x="158" y="349"/>
                    <a:pt x="154" y="346"/>
                    <a:pt x="152" y="343"/>
                  </a:cubicBezTo>
                  <a:cubicBezTo>
                    <a:pt x="5" y="117"/>
                    <a:pt x="5" y="117"/>
                    <a:pt x="5" y="117"/>
                  </a:cubicBezTo>
                  <a:cubicBezTo>
                    <a:pt x="0" y="109"/>
                    <a:pt x="2" y="99"/>
                    <a:pt x="9" y="95"/>
                  </a:cubicBezTo>
                  <a:cubicBezTo>
                    <a:pt x="104" y="33"/>
                    <a:pt x="214" y="0"/>
                    <a:pt x="327" y="0"/>
                  </a:cubicBezTo>
                  <a:cubicBezTo>
                    <a:pt x="440" y="0"/>
                    <a:pt x="550" y="33"/>
                    <a:pt x="645" y="95"/>
                  </a:cubicBezTo>
                  <a:cubicBezTo>
                    <a:pt x="652" y="99"/>
                    <a:pt x="654" y="109"/>
                    <a:pt x="649" y="117"/>
                  </a:cubicBezTo>
                  <a:cubicBezTo>
                    <a:pt x="502" y="343"/>
                    <a:pt x="502" y="343"/>
                    <a:pt x="502" y="343"/>
                  </a:cubicBezTo>
                  <a:cubicBezTo>
                    <a:pt x="500" y="346"/>
                    <a:pt x="496" y="349"/>
                    <a:pt x="492" y="350"/>
                  </a:cubicBezTo>
                  <a:cubicBezTo>
                    <a:pt x="491" y="350"/>
                    <a:pt x="490" y="350"/>
                    <a:pt x="489" y="350"/>
                  </a:cubicBezTo>
                  <a:close/>
                  <a:moveTo>
                    <a:pt x="327" y="270"/>
                  </a:moveTo>
                  <a:cubicBezTo>
                    <a:pt x="382" y="270"/>
                    <a:pt x="436" y="284"/>
                    <a:pt x="484" y="312"/>
                  </a:cubicBezTo>
                  <a:cubicBezTo>
                    <a:pt x="614" y="113"/>
                    <a:pt x="614" y="113"/>
                    <a:pt x="614" y="113"/>
                  </a:cubicBezTo>
                  <a:cubicBezTo>
                    <a:pt x="527" y="60"/>
                    <a:pt x="428" y="32"/>
                    <a:pt x="327" y="32"/>
                  </a:cubicBezTo>
                  <a:cubicBezTo>
                    <a:pt x="226" y="32"/>
                    <a:pt x="127" y="60"/>
                    <a:pt x="40" y="113"/>
                  </a:cubicBezTo>
                  <a:cubicBezTo>
                    <a:pt x="170" y="312"/>
                    <a:pt x="170" y="312"/>
                    <a:pt x="170" y="312"/>
                  </a:cubicBezTo>
                  <a:cubicBezTo>
                    <a:pt x="218" y="284"/>
                    <a:pt x="272" y="270"/>
                    <a:pt x="327" y="270"/>
                  </a:cubicBezTo>
                  <a:close/>
                </a:path>
              </a:pathLst>
            </a:custGeom>
            <a:solidFill>
              <a:srgbClr val="3762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" name="ExtraShape4"/>
            <p:cNvSpPr/>
            <p:nvPr/>
          </p:nvSpPr>
          <p:spPr bwMode="auto">
            <a:xfrm>
              <a:off x="3505354" y="2159284"/>
              <a:ext cx="907931" cy="1048146"/>
            </a:xfrm>
            <a:custGeom>
              <a:avLst/>
              <a:gdLst>
                <a:gd name="T0" fmla="*/ 286 w 439"/>
                <a:gd name="T1" fmla="*/ 508 h 508"/>
                <a:gd name="T2" fmla="*/ 16 w 439"/>
                <a:gd name="T3" fmla="*/ 508 h 508"/>
                <a:gd name="T4" fmla="*/ 0 w 439"/>
                <a:gd name="T5" fmla="*/ 492 h 508"/>
                <a:gd name="T6" fmla="*/ 265 w 439"/>
                <a:gd name="T7" fmla="*/ 4 h 508"/>
                <a:gd name="T8" fmla="*/ 277 w 439"/>
                <a:gd name="T9" fmla="*/ 1 h 508"/>
                <a:gd name="T10" fmla="*/ 288 w 439"/>
                <a:gd name="T11" fmla="*/ 8 h 508"/>
                <a:gd name="T12" fmla="*/ 435 w 439"/>
                <a:gd name="T13" fmla="*/ 234 h 508"/>
                <a:gd name="T14" fmla="*/ 430 w 439"/>
                <a:gd name="T15" fmla="*/ 256 h 508"/>
                <a:gd name="T16" fmla="*/ 302 w 439"/>
                <a:gd name="T17" fmla="*/ 492 h 508"/>
                <a:gd name="T18" fmla="*/ 286 w 439"/>
                <a:gd name="T19" fmla="*/ 508 h 508"/>
                <a:gd name="T20" fmla="*/ 32 w 439"/>
                <a:gd name="T21" fmla="*/ 476 h 508"/>
                <a:gd name="T22" fmla="*/ 270 w 439"/>
                <a:gd name="T23" fmla="*/ 476 h 508"/>
                <a:gd name="T24" fmla="*/ 399 w 439"/>
                <a:gd name="T25" fmla="*/ 239 h 508"/>
                <a:gd name="T26" fmla="*/ 270 w 439"/>
                <a:gd name="T27" fmla="*/ 39 h 508"/>
                <a:gd name="T28" fmla="*/ 32 w 439"/>
                <a:gd name="T29" fmla="*/ 476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9" h="508">
                  <a:moveTo>
                    <a:pt x="286" y="508"/>
                  </a:moveTo>
                  <a:cubicBezTo>
                    <a:pt x="16" y="508"/>
                    <a:pt x="16" y="508"/>
                    <a:pt x="16" y="508"/>
                  </a:cubicBezTo>
                  <a:cubicBezTo>
                    <a:pt x="7" y="508"/>
                    <a:pt x="0" y="501"/>
                    <a:pt x="0" y="492"/>
                  </a:cubicBezTo>
                  <a:cubicBezTo>
                    <a:pt x="0" y="294"/>
                    <a:pt x="99" y="112"/>
                    <a:pt x="265" y="4"/>
                  </a:cubicBezTo>
                  <a:cubicBezTo>
                    <a:pt x="269" y="1"/>
                    <a:pt x="273" y="0"/>
                    <a:pt x="277" y="1"/>
                  </a:cubicBezTo>
                  <a:cubicBezTo>
                    <a:pt x="282" y="2"/>
                    <a:pt x="285" y="5"/>
                    <a:pt x="288" y="8"/>
                  </a:cubicBezTo>
                  <a:cubicBezTo>
                    <a:pt x="435" y="234"/>
                    <a:pt x="435" y="234"/>
                    <a:pt x="435" y="234"/>
                  </a:cubicBezTo>
                  <a:cubicBezTo>
                    <a:pt x="439" y="242"/>
                    <a:pt x="437" y="252"/>
                    <a:pt x="430" y="256"/>
                  </a:cubicBezTo>
                  <a:cubicBezTo>
                    <a:pt x="350" y="309"/>
                    <a:pt x="302" y="397"/>
                    <a:pt x="302" y="492"/>
                  </a:cubicBezTo>
                  <a:cubicBezTo>
                    <a:pt x="302" y="501"/>
                    <a:pt x="295" y="508"/>
                    <a:pt x="286" y="508"/>
                  </a:cubicBezTo>
                  <a:close/>
                  <a:moveTo>
                    <a:pt x="32" y="476"/>
                  </a:moveTo>
                  <a:cubicBezTo>
                    <a:pt x="270" y="476"/>
                    <a:pt x="270" y="476"/>
                    <a:pt x="270" y="476"/>
                  </a:cubicBezTo>
                  <a:cubicBezTo>
                    <a:pt x="275" y="381"/>
                    <a:pt x="322" y="295"/>
                    <a:pt x="399" y="239"/>
                  </a:cubicBezTo>
                  <a:cubicBezTo>
                    <a:pt x="270" y="39"/>
                    <a:pt x="270" y="39"/>
                    <a:pt x="270" y="39"/>
                  </a:cubicBezTo>
                  <a:cubicBezTo>
                    <a:pt x="125" y="140"/>
                    <a:pt x="37" y="301"/>
                    <a:pt x="32" y="476"/>
                  </a:cubicBezTo>
                  <a:close/>
                </a:path>
              </a:pathLst>
            </a:custGeom>
            <a:solidFill>
              <a:srgbClr val="3762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" name="ExtraShape5"/>
            <p:cNvSpPr/>
            <p:nvPr/>
          </p:nvSpPr>
          <p:spPr bwMode="auto">
            <a:xfrm>
              <a:off x="5007964" y="2159284"/>
              <a:ext cx="907931" cy="1048146"/>
            </a:xfrm>
            <a:custGeom>
              <a:avLst/>
              <a:gdLst>
                <a:gd name="T0" fmla="*/ 423 w 439"/>
                <a:gd name="T1" fmla="*/ 508 h 508"/>
                <a:gd name="T2" fmla="*/ 153 w 439"/>
                <a:gd name="T3" fmla="*/ 508 h 508"/>
                <a:gd name="T4" fmla="*/ 137 w 439"/>
                <a:gd name="T5" fmla="*/ 492 h 508"/>
                <a:gd name="T6" fmla="*/ 9 w 439"/>
                <a:gd name="T7" fmla="*/ 256 h 508"/>
                <a:gd name="T8" fmla="*/ 4 w 439"/>
                <a:gd name="T9" fmla="*/ 234 h 508"/>
                <a:gd name="T10" fmla="*/ 151 w 439"/>
                <a:gd name="T11" fmla="*/ 8 h 508"/>
                <a:gd name="T12" fmla="*/ 162 w 439"/>
                <a:gd name="T13" fmla="*/ 1 h 508"/>
                <a:gd name="T14" fmla="*/ 174 w 439"/>
                <a:gd name="T15" fmla="*/ 4 h 508"/>
                <a:gd name="T16" fmla="*/ 439 w 439"/>
                <a:gd name="T17" fmla="*/ 492 h 508"/>
                <a:gd name="T18" fmla="*/ 423 w 439"/>
                <a:gd name="T19" fmla="*/ 508 h 508"/>
                <a:gd name="T20" fmla="*/ 169 w 439"/>
                <a:gd name="T21" fmla="*/ 476 h 508"/>
                <a:gd name="T22" fmla="*/ 407 w 439"/>
                <a:gd name="T23" fmla="*/ 476 h 508"/>
                <a:gd name="T24" fmla="*/ 169 w 439"/>
                <a:gd name="T25" fmla="*/ 39 h 508"/>
                <a:gd name="T26" fmla="*/ 40 w 439"/>
                <a:gd name="T27" fmla="*/ 239 h 508"/>
                <a:gd name="T28" fmla="*/ 169 w 439"/>
                <a:gd name="T29" fmla="*/ 476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9" h="508">
                  <a:moveTo>
                    <a:pt x="423" y="508"/>
                  </a:moveTo>
                  <a:cubicBezTo>
                    <a:pt x="153" y="508"/>
                    <a:pt x="153" y="508"/>
                    <a:pt x="153" y="508"/>
                  </a:cubicBezTo>
                  <a:cubicBezTo>
                    <a:pt x="144" y="508"/>
                    <a:pt x="137" y="501"/>
                    <a:pt x="137" y="492"/>
                  </a:cubicBezTo>
                  <a:cubicBezTo>
                    <a:pt x="137" y="397"/>
                    <a:pt x="89" y="309"/>
                    <a:pt x="9" y="256"/>
                  </a:cubicBezTo>
                  <a:cubicBezTo>
                    <a:pt x="2" y="252"/>
                    <a:pt x="0" y="242"/>
                    <a:pt x="4" y="234"/>
                  </a:cubicBezTo>
                  <a:cubicBezTo>
                    <a:pt x="151" y="8"/>
                    <a:pt x="151" y="8"/>
                    <a:pt x="151" y="8"/>
                  </a:cubicBezTo>
                  <a:cubicBezTo>
                    <a:pt x="154" y="5"/>
                    <a:pt x="157" y="2"/>
                    <a:pt x="162" y="1"/>
                  </a:cubicBezTo>
                  <a:cubicBezTo>
                    <a:pt x="166" y="0"/>
                    <a:pt x="170" y="1"/>
                    <a:pt x="174" y="4"/>
                  </a:cubicBezTo>
                  <a:cubicBezTo>
                    <a:pt x="340" y="112"/>
                    <a:pt x="439" y="294"/>
                    <a:pt x="439" y="492"/>
                  </a:cubicBezTo>
                  <a:cubicBezTo>
                    <a:pt x="439" y="501"/>
                    <a:pt x="432" y="508"/>
                    <a:pt x="423" y="508"/>
                  </a:cubicBezTo>
                  <a:close/>
                  <a:moveTo>
                    <a:pt x="169" y="476"/>
                  </a:moveTo>
                  <a:cubicBezTo>
                    <a:pt x="407" y="476"/>
                    <a:pt x="407" y="476"/>
                    <a:pt x="407" y="476"/>
                  </a:cubicBezTo>
                  <a:cubicBezTo>
                    <a:pt x="402" y="301"/>
                    <a:pt x="314" y="140"/>
                    <a:pt x="169" y="39"/>
                  </a:cubicBezTo>
                  <a:cubicBezTo>
                    <a:pt x="40" y="239"/>
                    <a:pt x="40" y="239"/>
                    <a:pt x="40" y="239"/>
                  </a:cubicBezTo>
                  <a:cubicBezTo>
                    <a:pt x="117" y="295"/>
                    <a:pt x="164" y="381"/>
                    <a:pt x="169" y="476"/>
                  </a:cubicBezTo>
                  <a:close/>
                </a:path>
              </a:pathLst>
            </a:custGeom>
            <a:solidFill>
              <a:srgbClr val="3762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" name="ExtraShape6"/>
            <p:cNvSpPr/>
            <p:nvPr/>
          </p:nvSpPr>
          <p:spPr bwMode="auto">
            <a:xfrm>
              <a:off x="3505354" y="2528224"/>
              <a:ext cx="2410539" cy="1849671"/>
            </a:xfrm>
            <a:custGeom>
              <a:avLst/>
              <a:gdLst>
                <a:gd name="T0" fmla="*/ 583 w 1166"/>
                <a:gd name="T1" fmla="*/ 896 h 896"/>
                <a:gd name="T2" fmla="*/ 265 w 1166"/>
                <a:gd name="T3" fmla="*/ 801 h 896"/>
                <a:gd name="T4" fmla="*/ 0 w 1166"/>
                <a:gd name="T5" fmla="*/ 313 h 896"/>
                <a:gd name="T6" fmla="*/ 16 w 1166"/>
                <a:gd name="T7" fmla="*/ 297 h 896"/>
                <a:gd name="T8" fmla="*/ 270 w 1166"/>
                <a:gd name="T9" fmla="*/ 297 h 896"/>
                <a:gd name="T10" fmla="*/ 412 w 1166"/>
                <a:gd name="T11" fmla="*/ 51 h 896"/>
                <a:gd name="T12" fmla="*/ 583 w 1166"/>
                <a:gd name="T13" fmla="*/ 0 h 896"/>
                <a:gd name="T14" fmla="*/ 754 w 1166"/>
                <a:gd name="T15" fmla="*/ 51 h 896"/>
                <a:gd name="T16" fmla="*/ 896 w 1166"/>
                <a:gd name="T17" fmla="*/ 297 h 896"/>
                <a:gd name="T18" fmla="*/ 1150 w 1166"/>
                <a:gd name="T19" fmla="*/ 297 h 896"/>
                <a:gd name="T20" fmla="*/ 1166 w 1166"/>
                <a:gd name="T21" fmla="*/ 313 h 896"/>
                <a:gd name="T22" fmla="*/ 901 w 1166"/>
                <a:gd name="T23" fmla="*/ 801 h 896"/>
                <a:gd name="T24" fmla="*/ 583 w 1166"/>
                <a:gd name="T25" fmla="*/ 896 h 896"/>
                <a:gd name="T26" fmla="*/ 32 w 1166"/>
                <a:gd name="T27" fmla="*/ 329 h 896"/>
                <a:gd name="T28" fmla="*/ 283 w 1166"/>
                <a:gd name="T29" fmla="*/ 774 h 896"/>
                <a:gd name="T30" fmla="*/ 583 w 1166"/>
                <a:gd name="T31" fmla="*/ 864 h 896"/>
                <a:gd name="T32" fmla="*/ 883 w 1166"/>
                <a:gd name="T33" fmla="*/ 774 h 896"/>
                <a:gd name="T34" fmla="*/ 1134 w 1166"/>
                <a:gd name="T35" fmla="*/ 329 h 896"/>
                <a:gd name="T36" fmla="*/ 880 w 1166"/>
                <a:gd name="T37" fmla="*/ 329 h 896"/>
                <a:gd name="T38" fmla="*/ 864 w 1166"/>
                <a:gd name="T39" fmla="*/ 313 h 896"/>
                <a:gd name="T40" fmla="*/ 736 w 1166"/>
                <a:gd name="T41" fmla="*/ 77 h 896"/>
                <a:gd name="T42" fmla="*/ 583 w 1166"/>
                <a:gd name="T43" fmla="*/ 32 h 896"/>
                <a:gd name="T44" fmla="*/ 430 w 1166"/>
                <a:gd name="T45" fmla="*/ 77 h 896"/>
                <a:gd name="T46" fmla="*/ 302 w 1166"/>
                <a:gd name="T47" fmla="*/ 313 h 896"/>
                <a:gd name="T48" fmla="*/ 286 w 1166"/>
                <a:gd name="T49" fmla="*/ 329 h 896"/>
                <a:gd name="T50" fmla="*/ 32 w 1166"/>
                <a:gd name="T51" fmla="*/ 329 h 896"/>
                <a:gd name="T52" fmla="*/ 896 w 1166"/>
                <a:gd name="T53" fmla="*/ 313 h 896"/>
                <a:gd name="T54" fmla="*/ 896 w 1166"/>
                <a:gd name="T55" fmla="*/ 313 h 8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66" h="896">
                  <a:moveTo>
                    <a:pt x="583" y="896"/>
                  </a:moveTo>
                  <a:cubicBezTo>
                    <a:pt x="470" y="896"/>
                    <a:pt x="360" y="863"/>
                    <a:pt x="265" y="801"/>
                  </a:cubicBezTo>
                  <a:cubicBezTo>
                    <a:pt x="99" y="693"/>
                    <a:pt x="0" y="510"/>
                    <a:pt x="0" y="313"/>
                  </a:cubicBezTo>
                  <a:cubicBezTo>
                    <a:pt x="0" y="304"/>
                    <a:pt x="7" y="297"/>
                    <a:pt x="16" y="297"/>
                  </a:cubicBezTo>
                  <a:cubicBezTo>
                    <a:pt x="270" y="297"/>
                    <a:pt x="270" y="297"/>
                    <a:pt x="270" y="297"/>
                  </a:cubicBezTo>
                  <a:cubicBezTo>
                    <a:pt x="276" y="197"/>
                    <a:pt x="328" y="106"/>
                    <a:pt x="412" y="51"/>
                  </a:cubicBezTo>
                  <a:cubicBezTo>
                    <a:pt x="463" y="17"/>
                    <a:pt x="522" y="0"/>
                    <a:pt x="583" y="0"/>
                  </a:cubicBezTo>
                  <a:cubicBezTo>
                    <a:pt x="644" y="0"/>
                    <a:pt x="703" y="17"/>
                    <a:pt x="754" y="51"/>
                  </a:cubicBezTo>
                  <a:cubicBezTo>
                    <a:pt x="838" y="106"/>
                    <a:pt x="890" y="197"/>
                    <a:pt x="896" y="297"/>
                  </a:cubicBezTo>
                  <a:cubicBezTo>
                    <a:pt x="1150" y="297"/>
                    <a:pt x="1150" y="297"/>
                    <a:pt x="1150" y="297"/>
                  </a:cubicBezTo>
                  <a:cubicBezTo>
                    <a:pt x="1159" y="297"/>
                    <a:pt x="1166" y="304"/>
                    <a:pt x="1166" y="313"/>
                  </a:cubicBezTo>
                  <a:cubicBezTo>
                    <a:pt x="1166" y="510"/>
                    <a:pt x="1067" y="693"/>
                    <a:pt x="901" y="801"/>
                  </a:cubicBezTo>
                  <a:cubicBezTo>
                    <a:pt x="806" y="863"/>
                    <a:pt x="696" y="896"/>
                    <a:pt x="583" y="896"/>
                  </a:cubicBezTo>
                  <a:close/>
                  <a:moveTo>
                    <a:pt x="32" y="329"/>
                  </a:moveTo>
                  <a:cubicBezTo>
                    <a:pt x="38" y="509"/>
                    <a:pt x="130" y="675"/>
                    <a:pt x="283" y="774"/>
                  </a:cubicBezTo>
                  <a:cubicBezTo>
                    <a:pt x="372" y="833"/>
                    <a:pt x="476" y="864"/>
                    <a:pt x="583" y="864"/>
                  </a:cubicBezTo>
                  <a:cubicBezTo>
                    <a:pt x="690" y="864"/>
                    <a:pt x="794" y="833"/>
                    <a:pt x="883" y="774"/>
                  </a:cubicBezTo>
                  <a:cubicBezTo>
                    <a:pt x="1036" y="675"/>
                    <a:pt x="1128" y="509"/>
                    <a:pt x="1134" y="329"/>
                  </a:cubicBezTo>
                  <a:cubicBezTo>
                    <a:pt x="880" y="329"/>
                    <a:pt x="880" y="329"/>
                    <a:pt x="880" y="329"/>
                  </a:cubicBezTo>
                  <a:cubicBezTo>
                    <a:pt x="871" y="329"/>
                    <a:pt x="864" y="322"/>
                    <a:pt x="864" y="313"/>
                  </a:cubicBezTo>
                  <a:cubicBezTo>
                    <a:pt x="864" y="218"/>
                    <a:pt x="816" y="130"/>
                    <a:pt x="736" y="77"/>
                  </a:cubicBezTo>
                  <a:cubicBezTo>
                    <a:pt x="690" y="48"/>
                    <a:pt x="637" y="32"/>
                    <a:pt x="583" y="32"/>
                  </a:cubicBezTo>
                  <a:cubicBezTo>
                    <a:pt x="529" y="32"/>
                    <a:pt x="476" y="48"/>
                    <a:pt x="430" y="77"/>
                  </a:cubicBezTo>
                  <a:cubicBezTo>
                    <a:pt x="350" y="130"/>
                    <a:pt x="302" y="218"/>
                    <a:pt x="302" y="313"/>
                  </a:cubicBezTo>
                  <a:cubicBezTo>
                    <a:pt x="302" y="322"/>
                    <a:pt x="295" y="329"/>
                    <a:pt x="286" y="329"/>
                  </a:cubicBezTo>
                  <a:lnTo>
                    <a:pt x="32" y="329"/>
                  </a:lnTo>
                  <a:close/>
                  <a:moveTo>
                    <a:pt x="896" y="313"/>
                  </a:moveTo>
                  <a:cubicBezTo>
                    <a:pt x="896" y="313"/>
                    <a:pt x="896" y="313"/>
                    <a:pt x="896" y="313"/>
                  </a:cubicBezTo>
                  <a:close/>
                </a:path>
              </a:pathLst>
            </a:custGeom>
            <a:solidFill>
              <a:srgbClr val="3762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" name="ExtraShape7"/>
            <p:cNvSpPr/>
            <p:nvPr/>
          </p:nvSpPr>
          <p:spPr bwMode="auto">
            <a:xfrm>
              <a:off x="4285000" y="2748991"/>
              <a:ext cx="851246" cy="850253"/>
            </a:xfrm>
            <a:custGeom>
              <a:avLst/>
              <a:gdLst>
                <a:gd name="T0" fmla="*/ 206 w 412"/>
                <a:gd name="T1" fmla="*/ 412 h 412"/>
                <a:gd name="T2" fmla="*/ 0 w 412"/>
                <a:gd name="T3" fmla="*/ 206 h 412"/>
                <a:gd name="T4" fmla="*/ 206 w 412"/>
                <a:gd name="T5" fmla="*/ 0 h 412"/>
                <a:gd name="T6" fmla="*/ 412 w 412"/>
                <a:gd name="T7" fmla="*/ 206 h 412"/>
                <a:gd name="T8" fmla="*/ 206 w 412"/>
                <a:gd name="T9" fmla="*/ 412 h 412"/>
                <a:gd name="T10" fmla="*/ 206 w 412"/>
                <a:gd name="T11" fmla="*/ 32 h 412"/>
                <a:gd name="T12" fmla="*/ 32 w 412"/>
                <a:gd name="T13" fmla="*/ 206 h 412"/>
                <a:gd name="T14" fmla="*/ 206 w 412"/>
                <a:gd name="T15" fmla="*/ 380 h 412"/>
                <a:gd name="T16" fmla="*/ 380 w 412"/>
                <a:gd name="T17" fmla="*/ 206 h 412"/>
                <a:gd name="T18" fmla="*/ 206 w 412"/>
                <a:gd name="T19" fmla="*/ 3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2" h="412">
                  <a:moveTo>
                    <a:pt x="206" y="412"/>
                  </a:moveTo>
                  <a:cubicBezTo>
                    <a:pt x="92" y="412"/>
                    <a:pt x="0" y="320"/>
                    <a:pt x="0" y="206"/>
                  </a:cubicBezTo>
                  <a:cubicBezTo>
                    <a:pt x="0" y="92"/>
                    <a:pt x="92" y="0"/>
                    <a:pt x="206" y="0"/>
                  </a:cubicBezTo>
                  <a:cubicBezTo>
                    <a:pt x="320" y="0"/>
                    <a:pt x="412" y="92"/>
                    <a:pt x="412" y="206"/>
                  </a:cubicBezTo>
                  <a:cubicBezTo>
                    <a:pt x="412" y="320"/>
                    <a:pt x="320" y="412"/>
                    <a:pt x="206" y="412"/>
                  </a:cubicBezTo>
                  <a:close/>
                  <a:moveTo>
                    <a:pt x="206" y="32"/>
                  </a:moveTo>
                  <a:cubicBezTo>
                    <a:pt x="110" y="32"/>
                    <a:pt x="32" y="110"/>
                    <a:pt x="32" y="206"/>
                  </a:cubicBezTo>
                  <a:cubicBezTo>
                    <a:pt x="32" y="302"/>
                    <a:pt x="110" y="380"/>
                    <a:pt x="206" y="380"/>
                  </a:cubicBezTo>
                  <a:cubicBezTo>
                    <a:pt x="302" y="380"/>
                    <a:pt x="380" y="302"/>
                    <a:pt x="380" y="206"/>
                  </a:cubicBezTo>
                  <a:cubicBezTo>
                    <a:pt x="380" y="110"/>
                    <a:pt x="302" y="32"/>
                    <a:pt x="206" y="32"/>
                  </a:cubicBezTo>
                  <a:close/>
                </a:path>
              </a:pathLst>
            </a:custGeom>
            <a:solidFill>
              <a:srgbClr val="3762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" name="ExtraShape8"/>
            <p:cNvSpPr/>
            <p:nvPr/>
          </p:nvSpPr>
          <p:spPr bwMode="auto">
            <a:xfrm>
              <a:off x="4493834" y="2186134"/>
              <a:ext cx="421646" cy="1161514"/>
            </a:xfrm>
            <a:custGeom>
              <a:avLst/>
              <a:gdLst>
                <a:gd name="T0" fmla="*/ 9 w 204"/>
                <a:gd name="T1" fmla="*/ 443 h 563"/>
                <a:gd name="T2" fmla="*/ 68 w 204"/>
                <a:gd name="T3" fmla="*/ 556 h 563"/>
                <a:gd name="T4" fmla="*/ 105 w 204"/>
                <a:gd name="T5" fmla="*/ 562 h 563"/>
                <a:gd name="T6" fmla="*/ 198 w 204"/>
                <a:gd name="T7" fmla="*/ 497 h 563"/>
                <a:gd name="T8" fmla="*/ 201 w 204"/>
                <a:gd name="T9" fmla="*/ 446 h 563"/>
                <a:gd name="T10" fmla="*/ 118 w 204"/>
                <a:gd name="T11" fmla="*/ 16 h 563"/>
                <a:gd name="T12" fmla="*/ 89 w 204"/>
                <a:gd name="T13" fmla="*/ 16 h 563"/>
                <a:gd name="T14" fmla="*/ 9 w 204"/>
                <a:gd name="T15" fmla="*/ 443 h 5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4" h="563">
                  <a:moveTo>
                    <a:pt x="9" y="443"/>
                  </a:moveTo>
                  <a:cubicBezTo>
                    <a:pt x="0" y="490"/>
                    <a:pt x="24" y="539"/>
                    <a:pt x="68" y="556"/>
                  </a:cubicBezTo>
                  <a:cubicBezTo>
                    <a:pt x="80" y="560"/>
                    <a:pt x="92" y="563"/>
                    <a:pt x="105" y="562"/>
                  </a:cubicBezTo>
                  <a:cubicBezTo>
                    <a:pt x="148" y="562"/>
                    <a:pt x="184" y="535"/>
                    <a:pt x="198" y="497"/>
                  </a:cubicBezTo>
                  <a:cubicBezTo>
                    <a:pt x="204" y="481"/>
                    <a:pt x="204" y="463"/>
                    <a:pt x="201" y="446"/>
                  </a:cubicBezTo>
                  <a:cubicBezTo>
                    <a:pt x="118" y="16"/>
                    <a:pt x="118" y="16"/>
                    <a:pt x="118" y="16"/>
                  </a:cubicBezTo>
                  <a:cubicBezTo>
                    <a:pt x="115" y="0"/>
                    <a:pt x="92" y="0"/>
                    <a:pt x="89" y="16"/>
                  </a:cubicBezTo>
                  <a:lnTo>
                    <a:pt x="9" y="443"/>
                  </a:lnTo>
                  <a:close/>
                </a:path>
              </a:pathLst>
            </a:custGeom>
            <a:solidFill>
              <a:srgbClr val="E0EB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" name="ExtraShape9"/>
            <p:cNvSpPr/>
            <p:nvPr/>
          </p:nvSpPr>
          <p:spPr bwMode="auto">
            <a:xfrm>
              <a:off x="4458034" y="2161272"/>
              <a:ext cx="492252" cy="1217203"/>
            </a:xfrm>
            <a:custGeom>
              <a:avLst/>
              <a:gdLst>
                <a:gd name="T0" fmla="*/ 121 w 238"/>
                <a:gd name="T1" fmla="*/ 590 h 590"/>
                <a:gd name="T2" fmla="*/ 79 w 238"/>
                <a:gd name="T3" fmla="*/ 583 h 590"/>
                <a:gd name="T4" fmla="*/ 10 w 238"/>
                <a:gd name="T5" fmla="*/ 452 h 590"/>
                <a:gd name="T6" fmla="*/ 90 w 238"/>
                <a:gd name="T7" fmla="*/ 25 h 590"/>
                <a:gd name="T8" fmla="*/ 120 w 238"/>
                <a:gd name="T9" fmla="*/ 0 h 590"/>
                <a:gd name="T10" fmla="*/ 120 w 238"/>
                <a:gd name="T11" fmla="*/ 0 h 590"/>
                <a:gd name="T12" fmla="*/ 151 w 238"/>
                <a:gd name="T13" fmla="*/ 25 h 590"/>
                <a:gd name="T14" fmla="*/ 233 w 238"/>
                <a:gd name="T15" fmla="*/ 455 h 590"/>
                <a:gd name="T16" fmla="*/ 230 w 238"/>
                <a:gd name="T17" fmla="*/ 514 h 590"/>
                <a:gd name="T18" fmla="*/ 122 w 238"/>
                <a:gd name="T19" fmla="*/ 590 h 590"/>
                <a:gd name="T20" fmla="*/ 121 w 238"/>
                <a:gd name="T21" fmla="*/ 590 h 590"/>
                <a:gd name="T22" fmla="*/ 120 w 238"/>
                <a:gd name="T23" fmla="*/ 38 h 590"/>
                <a:gd name="T24" fmla="*/ 42 w 238"/>
                <a:gd name="T25" fmla="*/ 458 h 590"/>
                <a:gd name="T26" fmla="*/ 91 w 238"/>
                <a:gd name="T27" fmla="*/ 553 h 590"/>
                <a:gd name="T28" fmla="*/ 122 w 238"/>
                <a:gd name="T29" fmla="*/ 558 h 590"/>
                <a:gd name="T30" fmla="*/ 200 w 238"/>
                <a:gd name="T31" fmla="*/ 503 h 590"/>
                <a:gd name="T32" fmla="*/ 202 w 238"/>
                <a:gd name="T33" fmla="*/ 461 h 590"/>
                <a:gd name="T34" fmla="*/ 120 w 238"/>
                <a:gd name="T35" fmla="*/ 38 h 590"/>
                <a:gd name="T36" fmla="*/ 26 w 238"/>
                <a:gd name="T37" fmla="*/ 455 h 590"/>
                <a:gd name="T38" fmla="*/ 26 w 238"/>
                <a:gd name="T39" fmla="*/ 455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38" h="590">
                  <a:moveTo>
                    <a:pt x="121" y="590"/>
                  </a:moveTo>
                  <a:cubicBezTo>
                    <a:pt x="107" y="590"/>
                    <a:pt x="93" y="588"/>
                    <a:pt x="79" y="583"/>
                  </a:cubicBezTo>
                  <a:cubicBezTo>
                    <a:pt x="29" y="563"/>
                    <a:pt x="0" y="508"/>
                    <a:pt x="10" y="452"/>
                  </a:cubicBezTo>
                  <a:cubicBezTo>
                    <a:pt x="90" y="25"/>
                    <a:pt x="90" y="25"/>
                    <a:pt x="90" y="25"/>
                  </a:cubicBezTo>
                  <a:cubicBezTo>
                    <a:pt x="93" y="10"/>
                    <a:pt x="106" y="0"/>
                    <a:pt x="120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35" y="0"/>
                    <a:pt x="148" y="10"/>
                    <a:pt x="151" y="25"/>
                  </a:cubicBezTo>
                  <a:cubicBezTo>
                    <a:pt x="233" y="455"/>
                    <a:pt x="233" y="455"/>
                    <a:pt x="233" y="455"/>
                  </a:cubicBezTo>
                  <a:cubicBezTo>
                    <a:pt x="238" y="476"/>
                    <a:pt x="236" y="496"/>
                    <a:pt x="230" y="514"/>
                  </a:cubicBezTo>
                  <a:cubicBezTo>
                    <a:pt x="213" y="559"/>
                    <a:pt x="170" y="590"/>
                    <a:pt x="122" y="590"/>
                  </a:cubicBezTo>
                  <a:cubicBezTo>
                    <a:pt x="122" y="590"/>
                    <a:pt x="121" y="590"/>
                    <a:pt x="121" y="590"/>
                  </a:cubicBezTo>
                  <a:close/>
                  <a:moveTo>
                    <a:pt x="120" y="38"/>
                  </a:moveTo>
                  <a:cubicBezTo>
                    <a:pt x="42" y="458"/>
                    <a:pt x="42" y="458"/>
                    <a:pt x="42" y="458"/>
                  </a:cubicBezTo>
                  <a:cubicBezTo>
                    <a:pt x="34" y="499"/>
                    <a:pt x="55" y="539"/>
                    <a:pt x="91" y="553"/>
                  </a:cubicBezTo>
                  <a:cubicBezTo>
                    <a:pt x="101" y="557"/>
                    <a:pt x="111" y="559"/>
                    <a:pt x="122" y="558"/>
                  </a:cubicBezTo>
                  <a:cubicBezTo>
                    <a:pt x="156" y="558"/>
                    <a:pt x="188" y="536"/>
                    <a:pt x="200" y="503"/>
                  </a:cubicBezTo>
                  <a:cubicBezTo>
                    <a:pt x="204" y="491"/>
                    <a:pt x="205" y="476"/>
                    <a:pt x="202" y="461"/>
                  </a:cubicBezTo>
                  <a:lnTo>
                    <a:pt x="120" y="38"/>
                  </a:lnTo>
                  <a:close/>
                  <a:moveTo>
                    <a:pt x="26" y="455"/>
                  </a:moveTo>
                  <a:cubicBezTo>
                    <a:pt x="26" y="455"/>
                    <a:pt x="26" y="455"/>
                    <a:pt x="26" y="455"/>
                  </a:cubicBezTo>
                  <a:close/>
                </a:path>
              </a:pathLst>
            </a:custGeom>
            <a:solidFill>
              <a:srgbClr val="3762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" name="ExtraShape10"/>
            <p:cNvSpPr/>
            <p:nvPr/>
          </p:nvSpPr>
          <p:spPr bwMode="auto">
            <a:xfrm>
              <a:off x="4611179" y="3042353"/>
              <a:ext cx="198890" cy="199884"/>
            </a:xfrm>
            <a:prstGeom prst="ellipse">
              <a:avLst/>
            </a:prstGeom>
            <a:solidFill>
              <a:srgbClr val="F9A7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" name="ExtraShape"/>
            <p:cNvSpPr/>
            <p:nvPr/>
          </p:nvSpPr>
          <p:spPr bwMode="auto">
            <a:xfrm>
              <a:off x="4578362" y="3009536"/>
              <a:ext cx="264523" cy="265518"/>
            </a:xfrm>
            <a:custGeom>
              <a:avLst/>
              <a:gdLst>
                <a:gd name="T0" fmla="*/ 64 w 128"/>
                <a:gd name="T1" fmla="*/ 129 h 129"/>
                <a:gd name="T2" fmla="*/ 0 w 128"/>
                <a:gd name="T3" fmla="*/ 64 h 129"/>
                <a:gd name="T4" fmla="*/ 64 w 128"/>
                <a:gd name="T5" fmla="*/ 0 h 129"/>
                <a:gd name="T6" fmla="*/ 128 w 128"/>
                <a:gd name="T7" fmla="*/ 64 h 129"/>
                <a:gd name="T8" fmla="*/ 64 w 128"/>
                <a:gd name="T9" fmla="*/ 129 h 129"/>
                <a:gd name="T10" fmla="*/ 64 w 128"/>
                <a:gd name="T11" fmla="*/ 32 h 129"/>
                <a:gd name="T12" fmla="*/ 32 w 128"/>
                <a:gd name="T13" fmla="*/ 64 h 129"/>
                <a:gd name="T14" fmla="*/ 64 w 128"/>
                <a:gd name="T15" fmla="*/ 97 h 129"/>
                <a:gd name="T16" fmla="*/ 96 w 128"/>
                <a:gd name="T17" fmla="*/ 64 h 129"/>
                <a:gd name="T18" fmla="*/ 64 w 128"/>
                <a:gd name="T19" fmla="*/ 32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129">
                  <a:moveTo>
                    <a:pt x="64" y="129"/>
                  </a:moveTo>
                  <a:cubicBezTo>
                    <a:pt x="28" y="129"/>
                    <a:pt x="0" y="100"/>
                    <a:pt x="0" y="64"/>
                  </a:cubicBezTo>
                  <a:cubicBezTo>
                    <a:pt x="0" y="29"/>
                    <a:pt x="28" y="0"/>
                    <a:pt x="64" y="0"/>
                  </a:cubicBezTo>
                  <a:cubicBezTo>
                    <a:pt x="100" y="0"/>
                    <a:pt x="128" y="29"/>
                    <a:pt x="128" y="64"/>
                  </a:cubicBezTo>
                  <a:cubicBezTo>
                    <a:pt x="128" y="100"/>
                    <a:pt x="100" y="129"/>
                    <a:pt x="64" y="129"/>
                  </a:cubicBezTo>
                  <a:close/>
                  <a:moveTo>
                    <a:pt x="64" y="32"/>
                  </a:moveTo>
                  <a:cubicBezTo>
                    <a:pt x="46" y="32"/>
                    <a:pt x="32" y="46"/>
                    <a:pt x="32" y="64"/>
                  </a:cubicBezTo>
                  <a:cubicBezTo>
                    <a:pt x="32" y="82"/>
                    <a:pt x="46" y="97"/>
                    <a:pt x="64" y="97"/>
                  </a:cubicBezTo>
                  <a:cubicBezTo>
                    <a:pt x="82" y="97"/>
                    <a:pt x="96" y="82"/>
                    <a:pt x="96" y="64"/>
                  </a:cubicBezTo>
                  <a:cubicBezTo>
                    <a:pt x="96" y="46"/>
                    <a:pt x="82" y="32"/>
                    <a:pt x="64" y="32"/>
                  </a:cubicBezTo>
                  <a:close/>
                </a:path>
              </a:pathLst>
            </a:custGeom>
            <a:solidFill>
              <a:srgbClr val="3762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" name="CustomText"/>
            <p:cNvSpPr/>
            <p:nvPr/>
          </p:nvSpPr>
          <p:spPr>
            <a:xfrm flipH="1">
              <a:off x="3511067" y="4670262"/>
              <a:ext cx="2399113" cy="468656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92500" lnSpcReduction="20000"/>
            </a:bodyPr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3200" b="1" i="0" strike="noStrike" kern="1200" cap="none" spc="0" normalizeH="0" baseline="0" noProof="0" dirty="0">
                  <a:solidFill>
                    <a:schemeClr val="tx2"/>
                  </a:solidFill>
                  <a:effectLst/>
                  <a:uLnTx/>
                  <a:uFillTx/>
                </a:rPr>
                <a:t>TEXT HERE</a:t>
              </a:r>
              <a:endParaRPr kumimoji="0" lang="en-US" altLang="zh-CN" sz="3200" b="1" i="0" strike="noStrike" kern="1200" cap="none" spc="0" normalizeH="0" baseline="0" noProof="0" dirty="0">
                <a:solidFill>
                  <a:schemeClr val="tx2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CustomText1"/>
            <p:cNvSpPr/>
            <p:nvPr/>
          </p:nvSpPr>
          <p:spPr>
            <a:xfrm flipH="1">
              <a:off x="3511067" y="5138918"/>
              <a:ext cx="2399114" cy="359583"/>
            </a:xfrm>
            <a:prstGeom prst="rect">
              <a:avLst/>
            </a:prstGeom>
            <a:noFill/>
          </p:spPr>
          <p:txBody>
            <a:bodyPr wrap="square" lIns="90000" tIns="46800" rIns="90000" bIns="46800">
              <a:normAutofit lnSpcReduction="10000"/>
            </a:bodyPr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</a:rPr>
                <a:t>Supporting text here</a:t>
              </a:r>
              <a:endParaRPr kumimoji="0" lang="en-US" altLang="zh-CN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9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30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3200" dirty="0">
                <a:solidFill>
                  <a:srgbClr val="C0504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3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应用日志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ľ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šliḑê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Egg.js</a:t>
            </a:r>
            <a:r>
              <a:rPr lang="zh-CN" altLang="en-US" dirty="0"/>
              <a:t>单元测试</a:t>
            </a:r>
            <a:endParaRPr lang="zh-CN" altLang="en-US" dirty="0"/>
          </a:p>
        </p:txBody>
      </p:sp>
      <p:sp>
        <p:nvSpPr>
          <p:cNvPr id="6" name="îṥḷiḋê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代码质量持续有保障.</a:t>
            </a:r>
            <a:endParaRPr lang="en-US" altLang="zh-CN" dirty="0"/>
          </a:p>
          <a:p>
            <a:pPr lvl="0"/>
            <a:r>
              <a:rPr lang="en-US" altLang="zh-CN" dirty="0"/>
              <a:t>重构正确性保障.</a:t>
            </a:r>
            <a:endParaRPr lang="zh-CN" altLang="en-US" dirty="0"/>
          </a:p>
        </p:txBody>
      </p:sp>
      <p:sp>
        <p:nvSpPr>
          <p:cNvPr id="9" name="íślíde"/>
          <p:cNvSpPr txBox="1"/>
          <p:nvPr/>
        </p:nvSpPr>
        <p:spPr>
          <a:xfrm>
            <a:off x="876697" y="2279537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4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83c0bcfb-e15b-4feb-a6c7-3fd9487a86a3" descr="GhkAAB+LCAAAAAAABADNWF1v2jAU/S9e91ZNsfPNGzSl2kPXSq32MvGQJS54CwlygtSq6n+fE5L1mnwQA1bLE9z4Juf4nGMuvKILFqMJwugSXRQvGyreP6xDXgQsXPJwfZvFNBHX7nm2obxgNEeTX691EwFNP8NkS+tVL6J+y1K23q6rMpoY3wxRCp9BCRtVMaARW4dJwJasEPcWle/5PeURTYt6YcG39BLBG93wbLupQL9dNlhMgOUqSzIOsNS9zVILLL17emIRfVzRNa26xKVHlhbTNH5YhXHzwBlny1WR0jyvC3e//9CoAG0TWzRWt6yWb/OVuPmXuXj5vmEInJ2g7fGgnRNBe0qgr68Dpw+0C61ScJYu26iR8RV1d3uge5ZlCQ3TdvtO8q52/4MtRwAWbIyXD2MdpnO69SPXs2A+h/pJsIkCbFOH7XpgB86cDMC2lH0ntdvqxpP6nQ92ngnBuAoSejqc5/adHFdT+biTYPvjYRNDh/N6Yc8d+cCDsAlWdp7UTtSdJ/WbH+w8C4KxFCS0dTjP65PQntlTKKEE21GA7epwXi/sYM95EmxP2XlSu6/uPNG/EAhZGouHwWHPhIG84WHMhHfqddWAKPzFX+S9LfeU06fa0OiBRlkaD6yyy1UddVLVQzGP0oLyvLqyhwRcbXYazVlSzq7TdJk0SgnVNvSHWFlS2+1AVcJo8daect+fLhGBeBdgBIXnxCN9Bruzp907M1edcYU3l/h2sCqff4AUhN6aCaCy3Wp2o9tJ2yFGCagUIyrPHBGrnBZ1GJrs/C+WQsGUSReO4GrKXFs/Fc7OtTGeBq6zMPqrwNU6JbTYGJVaTHpM7GuPLRnYCR8mtaIiIYa7ZKsHF1vqpMcn9wAviL31zTbo5p2knyu6Q2RLvJBta/A9P1vN4VVh652UXndcev0eI2NHe3zNob1wpMS60qe9DPjq+SX4CNrjA3yIGUBvtf5GGPa0+/kSPMjWldli/Ww1J1iFLTklwcQalWDi9A2RA7PLmRJsDY2Y0qxMLOnTXgbMIxLsHUF7fIIPMYPoWz+KBz29k/VzJXiQrSWzbf1rfX62mhN8mO3i7R9e0V+/GhkAAA=="/>
          <p:cNvGrpSpPr>
            <a:grpSpLocks noChangeAspect="1"/>
          </p:cNvGrpSpPr>
          <p:nvPr/>
        </p:nvGrpSpPr>
        <p:grpSpPr>
          <a:xfrm>
            <a:off x="2780848" y="1272183"/>
            <a:ext cx="6630304" cy="4313634"/>
            <a:chOff x="2780848" y="1344903"/>
            <a:chExt cx="6630304" cy="4313634"/>
          </a:xfrm>
        </p:grpSpPr>
        <p:sp>
          <p:nvSpPr>
            <p:cNvPr id="3" name="ValueShape1"/>
            <p:cNvSpPr/>
            <p:nvPr/>
          </p:nvSpPr>
          <p:spPr>
            <a:xfrm>
              <a:off x="5313122" y="2054049"/>
              <a:ext cx="3711616" cy="21790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lumMod val="10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  <a:gs pos="55000">
                  <a:schemeClr val="accent1">
                    <a:lumMod val="100000"/>
                  </a:schemeClr>
                </a:gs>
                <a:gs pos="55100">
                  <a:schemeClr val="accent1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" name="ValueShape2"/>
            <p:cNvSpPr/>
            <p:nvPr/>
          </p:nvSpPr>
          <p:spPr>
            <a:xfrm>
              <a:off x="5699536" y="2548634"/>
              <a:ext cx="3711616" cy="21790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2">
                    <a:lumMod val="100000"/>
                  </a:schemeClr>
                </a:gs>
                <a:gs pos="100000">
                  <a:schemeClr val="accent2">
                    <a:lumMod val="20000"/>
                    <a:lumOff val="80000"/>
                  </a:schemeClr>
                </a:gs>
                <a:gs pos="71154">
                  <a:schemeClr val="accent2">
                    <a:lumMod val="100000"/>
                  </a:schemeClr>
                </a:gs>
                <a:gs pos="71254">
                  <a:schemeClr val="accent2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" name="ValueShape3"/>
            <p:cNvSpPr/>
            <p:nvPr/>
          </p:nvSpPr>
          <p:spPr>
            <a:xfrm>
              <a:off x="5499783" y="3314166"/>
              <a:ext cx="3711616" cy="21790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3">
                    <a:lumMod val="100000"/>
                  </a:schemeClr>
                </a:gs>
                <a:gs pos="100000">
                  <a:schemeClr val="accent3">
                    <a:lumMod val="20000"/>
                    <a:lumOff val="80000"/>
                  </a:schemeClr>
                </a:gs>
                <a:gs pos="61538">
                  <a:schemeClr val="accent3">
                    <a:lumMod val="100000"/>
                  </a:schemeClr>
                </a:gs>
                <a:gs pos="61638">
                  <a:schemeClr val="accent3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" name="ValueShape4"/>
            <p:cNvSpPr/>
            <p:nvPr/>
          </p:nvSpPr>
          <p:spPr>
            <a:xfrm>
              <a:off x="5254904" y="4019435"/>
              <a:ext cx="3711616" cy="21790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>
                    <a:lumMod val="100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  <a:gs pos="78846">
                  <a:schemeClr val="accent4">
                    <a:lumMod val="100000"/>
                  </a:schemeClr>
                </a:gs>
                <a:gs pos="78946">
                  <a:schemeClr val="accent4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ValueBack1"/>
            <p:cNvSpPr/>
            <p:nvPr/>
          </p:nvSpPr>
          <p:spPr bwMode="auto">
            <a:xfrm>
              <a:off x="5206469" y="1998617"/>
              <a:ext cx="327813" cy="329724"/>
            </a:xfrm>
            <a:prstGeom prst="ellipse">
              <a:avLst/>
            </a:prstGeom>
            <a:solidFill>
              <a:schemeClr val="accent1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" name="ValueBack2"/>
            <p:cNvSpPr/>
            <p:nvPr/>
          </p:nvSpPr>
          <p:spPr bwMode="auto">
            <a:xfrm>
              <a:off x="5646101" y="2492725"/>
              <a:ext cx="327813" cy="329724"/>
            </a:xfrm>
            <a:prstGeom prst="ellipse">
              <a:avLst/>
            </a:prstGeom>
            <a:solidFill>
              <a:schemeClr val="accent2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" name="ValueBack3"/>
            <p:cNvSpPr/>
            <p:nvPr/>
          </p:nvSpPr>
          <p:spPr bwMode="auto">
            <a:xfrm>
              <a:off x="5423481" y="3257779"/>
              <a:ext cx="327813" cy="329724"/>
            </a:xfrm>
            <a:prstGeom prst="ellipse">
              <a:avLst/>
            </a:prstGeom>
            <a:solidFill>
              <a:schemeClr val="accent3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" name="ValueBack4"/>
            <p:cNvSpPr/>
            <p:nvPr/>
          </p:nvSpPr>
          <p:spPr bwMode="auto">
            <a:xfrm>
              <a:off x="5206469" y="3970270"/>
              <a:ext cx="329724" cy="326857"/>
            </a:xfrm>
            <a:prstGeom prst="ellipse">
              <a:avLst/>
            </a:prstGeom>
            <a:solidFill>
              <a:schemeClr val="accent4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" name="ValueText1"/>
            <p:cNvSpPr txBox="1"/>
            <p:nvPr/>
          </p:nvSpPr>
          <p:spPr>
            <a:xfrm>
              <a:off x="5499783" y="4561946"/>
              <a:ext cx="451576" cy="288077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1">
                      <a:lumMod val="100000"/>
                    </a:schemeClr>
                  </a:solidFill>
                  <a:latin typeface="Impact" panose="020B0806030902050204" pitchFamily="34" charset="0"/>
                </a:rPr>
                <a:t>55%</a:t>
              </a:r>
              <a:endParaRPr lang="en-US" altLang="zh-CN" sz="3600" b="1" dirty="0">
                <a:solidFill>
                  <a:schemeClr val="accent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2" name="ValueText2"/>
            <p:cNvSpPr txBox="1"/>
            <p:nvPr/>
          </p:nvSpPr>
          <p:spPr>
            <a:xfrm>
              <a:off x="6181155" y="4561946"/>
              <a:ext cx="451576" cy="288077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2">
                      <a:lumMod val="100000"/>
                    </a:schemeClr>
                  </a:solidFill>
                  <a:latin typeface="Impact" panose="020B0806030902050204" pitchFamily="34" charset="0"/>
                </a:rPr>
                <a:t>71%</a:t>
              </a:r>
              <a:endParaRPr lang="en-US" altLang="zh-CN" sz="3600" b="1" dirty="0">
                <a:solidFill>
                  <a:schemeClr val="accent2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3" name="ValueText3"/>
            <p:cNvSpPr txBox="1"/>
            <p:nvPr/>
          </p:nvSpPr>
          <p:spPr>
            <a:xfrm>
              <a:off x="6845876" y="4561946"/>
              <a:ext cx="451576" cy="288077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3">
                      <a:lumMod val="100000"/>
                    </a:schemeClr>
                  </a:solidFill>
                  <a:latin typeface="Impact" panose="020B0806030902050204" pitchFamily="34" charset="0"/>
                </a:rPr>
                <a:t>62%</a:t>
              </a:r>
              <a:endParaRPr lang="en-US" altLang="zh-CN" sz="3600" b="1" dirty="0">
                <a:solidFill>
                  <a:schemeClr val="accent3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4" name="ValueText4"/>
            <p:cNvSpPr txBox="1"/>
            <p:nvPr/>
          </p:nvSpPr>
          <p:spPr>
            <a:xfrm>
              <a:off x="7527248" y="4561946"/>
              <a:ext cx="451576" cy="288077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4">
                      <a:lumMod val="100000"/>
                    </a:schemeClr>
                  </a:solidFill>
                  <a:latin typeface="Impact" panose="020B0806030902050204" pitchFamily="34" charset="0"/>
                </a:rPr>
                <a:t>79%</a:t>
              </a:r>
              <a:endParaRPr lang="en-US" altLang="zh-CN" sz="3600" b="1" dirty="0">
                <a:solidFill>
                  <a:schemeClr val="accent4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5" name="ExtraShape1"/>
            <p:cNvSpPr/>
            <p:nvPr/>
          </p:nvSpPr>
          <p:spPr bwMode="auto">
            <a:xfrm>
              <a:off x="2846793" y="1398424"/>
              <a:ext cx="1702140" cy="3283859"/>
            </a:xfrm>
            <a:custGeom>
              <a:avLst/>
              <a:gdLst>
                <a:gd name="T0" fmla="*/ 857 w 857"/>
                <a:gd name="T1" fmla="*/ 35 h 1656"/>
                <a:gd name="T2" fmla="*/ 857 w 857"/>
                <a:gd name="T3" fmla="*/ 1621 h 1656"/>
                <a:gd name="T4" fmla="*/ 747 w 857"/>
                <a:gd name="T5" fmla="*/ 1656 h 1656"/>
                <a:gd name="T6" fmla="*/ 561 w 857"/>
                <a:gd name="T7" fmla="*/ 1513 h 1656"/>
                <a:gd name="T8" fmla="*/ 526 w 857"/>
                <a:gd name="T9" fmla="*/ 1518 h 1656"/>
                <a:gd name="T10" fmla="*/ 388 w 857"/>
                <a:gd name="T11" fmla="*/ 1380 h 1656"/>
                <a:gd name="T12" fmla="*/ 391 w 857"/>
                <a:gd name="T13" fmla="*/ 1352 h 1656"/>
                <a:gd name="T14" fmla="*/ 58 w 857"/>
                <a:gd name="T15" fmla="*/ 1241 h 1656"/>
                <a:gd name="T16" fmla="*/ 151 w 857"/>
                <a:gd name="T17" fmla="*/ 918 h 1656"/>
                <a:gd name="T18" fmla="*/ 132 w 857"/>
                <a:gd name="T19" fmla="*/ 646 h 1656"/>
                <a:gd name="T20" fmla="*/ 196 w 857"/>
                <a:gd name="T21" fmla="*/ 598 h 1656"/>
                <a:gd name="T22" fmla="*/ 168 w 857"/>
                <a:gd name="T23" fmla="*/ 497 h 1656"/>
                <a:gd name="T24" fmla="*/ 278 w 857"/>
                <a:gd name="T25" fmla="*/ 323 h 1656"/>
                <a:gd name="T26" fmla="*/ 361 w 857"/>
                <a:gd name="T27" fmla="*/ 304 h 1656"/>
                <a:gd name="T28" fmla="*/ 392 w 857"/>
                <a:gd name="T29" fmla="*/ 307 h 1656"/>
                <a:gd name="T30" fmla="*/ 496 w 857"/>
                <a:gd name="T31" fmla="*/ 142 h 1656"/>
                <a:gd name="T32" fmla="*/ 526 w 857"/>
                <a:gd name="T33" fmla="*/ 138 h 1656"/>
                <a:gd name="T34" fmla="*/ 561 w 857"/>
                <a:gd name="T35" fmla="*/ 143 h 1656"/>
                <a:gd name="T36" fmla="*/ 747 w 857"/>
                <a:gd name="T37" fmla="*/ 0 h 1656"/>
                <a:gd name="T38" fmla="*/ 857 w 857"/>
                <a:gd name="T39" fmla="*/ 35 h 1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57" h="1656">
                  <a:moveTo>
                    <a:pt x="857" y="35"/>
                  </a:moveTo>
                  <a:cubicBezTo>
                    <a:pt x="857" y="1621"/>
                    <a:pt x="857" y="1621"/>
                    <a:pt x="857" y="1621"/>
                  </a:cubicBezTo>
                  <a:cubicBezTo>
                    <a:pt x="825" y="1644"/>
                    <a:pt x="786" y="1656"/>
                    <a:pt x="747" y="1656"/>
                  </a:cubicBezTo>
                  <a:cubicBezTo>
                    <a:pt x="660" y="1656"/>
                    <a:pt x="583" y="1597"/>
                    <a:pt x="561" y="1513"/>
                  </a:cubicBezTo>
                  <a:cubicBezTo>
                    <a:pt x="549" y="1516"/>
                    <a:pt x="538" y="1518"/>
                    <a:pt x="526" y="1518"/>
                  </a:cubicBezTo>
                  <a:cubicBezTo>
                    <a:pt x="450" y="1518"/>
                    <a:pt x="388" y="1456"/>
                    <a:pt x="388" y="1380"/>
                  </a:cubicBezTo>
                  <a:cubicBezTo>
                    <a:pt x="388" y="1371"/>
                    <a:pt x="389" y="1361"/>
                    <a:pt x="391" y="1352"/>
                  </a:cubicBezTo>
                  <a:cubicBezTo>
                    <a:pt x="268" y="1414"/>
                    <a:pt x="119" y="1364"/>
                    <a:pt x="58" y="1241"/>
                  </a:cubicBezTo>
                  <a:cubicBezTo>
                    <a:pt x="0" y="1126"/>
                    <a:pt x="41" y="985"/>
                    <a:pt x="151" y="918"/>
                  </a:cubicBezTo>
                  <a:cubicBezTo>
                    <a:pt x="71" y="848"/>
                    <a:pt x="62" y="726"/>
                    <a:pt x="132" y="646"/>
                  </a:cubicBezTo>
                  <a:cubicBezTo>
                    <a:pt x="150" y="626"/>
                    <a:pt x="172" y="609"/>
                    <a:pt x="196" y="598"/>
                  </a:cubicBezTo>
                  <a:cubicBezTo>
                    <a:pt x="177" y="568"/>
                    <a:pt x="167" y="533"/>
                    <a:pt x="168" y="497"/>
                  </a:cubicBezTo>
                  <a:cubicBezTo>
                    <a:pt x="167" y="422"/>
                    <a:pt x="210" y="354"/>
                    <a:pt x="278" y="323"/>
                  </a:cubicBezTo>
                  <a:cubicBezTo>
                    <a:pt x="304" y="310"/>
                    <a:pt x="332" y="304"/>
                    <a:pt x="361" y="304"/>
                  </a:cubicBezTo>
                  <a:cubicBezTo>
                    <a:pt x="371" y="304"/>
                    <a:pt x="381" y="305"/>
                    <a:pt x="392" y="307"/>
                  </a:cubicBezTo>
                  <a:cubicBezTo>
                    <a:pt x="375" y="232"/>
                    <a:pt x="422" y="158"/>
                    <a:pt x="496" y="142"/>
                  </a:cubicBezTo>
                  <a:cubicBezTo>
                    <a:pt x="506" y="139"/>
                    <a:pt x="516" y="138"/>
                    <a:pt x="526" y="138"/>
                  </a:cubicBezTo>
                  <a:cubicBezTo>
                    <a:pt x="538" y="138"/>
                    <a:pt x="549" y="140"/>
                    <a:pt x="561" y="143"/>
                  </a:cubicBezTo>
                  <a:cubicBezTo>
                    <a:pt x="583" y="59"/>
                    <a:pt x="660" y="0"/>
                    <a:pt x="747" y="0"/>
                  </a:cubicBezTo>
                  <a:cubicBezTo>
                    <a:pt x="786" y="0"/>
                    <a:pt x="825" y="12"/>
                    <a:pt x="857" y="35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" name="ExtraShape"/>
            <p:cNvSpPr/>
            <p:nvPr/>
          </p:nvSpPr>
          <p:spPr bwMode="auto">
            <a:xfrm>
              <a:off x="3289291" y="1562807"/>
              <a:ext cx="1150689" cy="2789752"/>
            </a:xfrm>
            <a:custGeom>
              <a:avLst/>
              <a:gdLst>
                <a:gd name="connsiteX0" fmla="*/ 931870 w 1150689"/>
                <a:gd name="connsiteY0" fmla="*/ 2462895 h 2789752"/>
                <a:gd name="connsiteX1" fmla="*/ 985349 w 1150689"/>
                <a:gd name="connsiteY1" fmla="*/ 2516381 h 2789752"/>
                <a:gd name="connsiteX2" fmla="*/ 931870 w 1150689"/>
                <a:gd name="connsiteY2" fmla="*/ 2571847 h 2789752"/>
                <a:gd name="connsiteX3" fmla="*/ 820951 w 1150689"/>
                <a:gd name="connsiteY3" fmla="*/ 2734286 h 2789752"/>
                <a:gd name="connsiteX4" fmla="*/ 767473 w 1150689"/>
                <a:gd name="connsiteY4" fmla="*/ 2789752 h 2789752"/>
                <a:gd name="connsiteX5" fmla="*/ 712013 w 1150689"/>
                <a:gd name="connsiteY5" fmla="*/ 2734286 h 2789752"/>
                <a:gd name="connsiteX6" fmla="*/ 931870 w 1150689"/>
                <a:gd name="connsiteY6" fmla="*/ 2462895 h 2789752"/>
                <a:gd name="connsiteX7" fmla="*/ 602078 w 1150689"/>
                <a:gd name="connsiteY7" fmla="*/ 2189558 h 2789752"/>
                <a:gd name="connsiteX8" fmla="*/ 657537 w 1150689"/>
                <a:gd name="connsiteY8" fmla="*/ 2243037 h 2789752"/>
                <a:gd name="connsiteX9" fmla="*/ 602078 w 1150689"/>
                <a:gd name="connsiteY9" fmla="*/ 2298496 h 2789752"/>
                <a:gd name="connsiteX10" fmla="*/ 493139 w 1150689"/>
                <a:gd name="connsiteY10" fmla="*/ 2407435 h 2789752"/>
                <a:gd name="connsiteX11" fmla="*/ 437680 w 1150689"/>
                <a:gd name="connsiteY11" fmla="*/ 2462894 h 2789752"/>
                <a:gd name="connsiteX12" fmla="*/ 384201 w 1150689"/>
                <a:gd name="connsiteY12" fmla="*/ 2407435 h 2789752"/>
                <a:gd name="connsiteX13" fmla="*/ 602078 w 1150689"/>
                <a:gd name="connsiteY13" fmla="*/ 2189558 h 2789752"/>
                <a:gd name="connsiteX14" fmla="*/ 1095223 w 1150689"/>
                <a:gd name="connsiteY14" fmla="*/ 1915266 h 2789752"/>
                <a:gd name="connsiteX15" fmla="*/ 1150689 w 1150689"/>
                <a:gd name="connsiteY15" fmla="*/ 1968908 h 2789752"/>
                <a:gd name="connsiteX16" fmla="*/ 1150689 w 1150689"/>
                <a:gd name="connsiteY16" fmla="*/ 2189437 h 2789752"/>
                <a:gd name="connsiteX17" fmla="*/ 1095223 w 1150689"/>
                <a:gd name="connsiteY17" fmla="*/ 2243079 h 2789752"/>
                <a:gd name="connsiteX18" fmla="*/ 1041737 w 1150689"/>
                <a:gd name="connsiteY18" fmla="*/ 2189437 h 2789752"/>
                <a:gd name="connsiteX19" fmla="*/ 1041737 w 1150689"/>
                <a:gd name="connsiteY19" fmla="*/ 1968908 h 2789752"/>
                <a:gd name="connsiteX20" fmla="*/ 1095223 w 1150689"/>
                <a:gd name="connsiteY20" fmla="*/ 1915266 h 2789752"/>
                <a:gd name="connsiteX21" fmla="*/ 53642 w 1150689"/>
                <a:gd name="connsiteY21" fmla="*/ 1641929 h 2789752"/>
                <a:gd name="connsiteX22" fmla="*/ 327813 w 1150689"/>
                <a:gd name="connsiteY22" fmla="*/ 1915300 h 2789752"/>
                <a:gd name="connsiteX23" fmla="*/ 274171 w 1150689"/>
                <a:gd name="connsiteY23" fmla="*/ 1968786 h 2789752"/>
                <a:gd name="connsiteX24" fmla="*/ 218542 w 1150689"/>
                <a:gd name="connsiteY24" fmla="*/ 1915300 h 2789752"/>
                <a:gd name="connsiteX25" fmla="*/ 53642 w 1150689"/>
                <a:gd name="connsiteY25" fmla="*/ 1750881 h 2789752"/>
                <a:gd name="connsiteX26" fmla="*/ 0 w 1150689"/>
                <a:gd name="connsiteY26" fmla="*/ 1695415 h 2789752"/>
                <a:gd name="connsiteX27" fmla="*/ 53642 w 1150689"/>
                <a:gd name="connsiteY27" fmla="*/ 1641929 h 2789752"/>
                <a:gd name="connsiteX28" fmla="*/ 821111 w 1150689"/>
                <a:gd name="connsiteY28" fmla="*/ 1586497 h 2789752"/>
                <a:gd name="connsiteX29" fmla="*/ 876765 w 1150689"/>
                <a:gd name="connsiteY29" fmla="*/ 1641957 h 2789752"/>
                <a:gd name="connsiteX30" fmla="*/ 986085 w 1150689"/>
                <a:gd name="connsiteY30" fmla="*/ 1750895 h 2789752"/>
                <a:gd name="connsiteX31" fmla="*/ 1041738 w 1150689"/>
                <a:gd name="connsiteY31" fmla="*/ 1806354 h 2789752"/>
                <a:gd name="connsiteX32" fmla="*/ 986085 w 1150689"/>
                <a:gd name="connsiteY32" fmla="*/ 1859833 h 2789752"/>
                <a:gd name="connsiteX33" fmla="*/ 767445 w 1150689"/>
                <a:gd name="connsiteY33" fmla="*/ 1641957 h 2789752"/>
                <a:gd name="connsiteX34" fmla="*/ 821111 w 1150689"/>
                <a:gd name="connsiteY34" fmla="*/ 1586497 h 2789752"/>
                <a:gd name="connsiteX35" fmla="*/ 821111 w 1150689"/>
                <a:gd name="connsiteY35" fmla="*/ 1147821 h 2789752"/>
                <a:gd name="connsiteX36" fmla="*/ 1041738 w 1150689"/>
                <a:gd name="connsiteY36" fmla="*/ 1312903 h 2789752"/>
                <a:gd name="connsiteX37" fmla="*/ 986085 w 1150689"/>
                <a:gd name="connsiteY37" fmla="*/ 1368593 h 2789752"/>
                <a:gd name="connsiteX38" fmla="*/ 932419 w 1150689"/>
                <a:gd name="connsiteY38" fmla="*/ 1312903 h 2789752"/>
                <a:gd name="connsiteX39" fmla="*/ 821111 w 1150689"/>
                <a:gd name="connsiteY39" fmla="*/ 1259202 h 2789752"/>
                <a:gd name="connsiteX40" fmla="*/ 767445 w 1150689"/>
                <a:gd name="connsiteY40" fmla="*/ 1203511 h 2789752"/>
                <a:gd name="connsiteX41" fmla="*/ 821111 w 1150689"/>
                <a:gd name="connsiteY41" fmla="*/ 1147821 h 2789752"/>
                <a:gd name="connsiteX42" fmla="*/ 548608 w 1150689"/>
                <a:gd name="connsiteY42" fmla="*/ 1147821 h 2789752"/>
                <a:gd name="connsiteX43" fmla="*/ 602082 w 1150689"/>
                <a:gd name="connsiteY43" fmla="*/ 1147821 h 2789752"/>
                <a:gd name="connsiteX44" fmla="*/ 657537 w 1150689"/>
                <a:gd name="connsiteY44" fmla="*/ 1203731 h 2789752"/>
                <a:gd name="connsiteX45" fmla="*/ 602082 w 1150689"/>
                <a:gd name="connsiteY45" fmla="*/ 1259641 h 2789752"/>
                <a:gd name="connsiteX46" fmla="*/ 548608 w 1150689"/>
                <a:gd name="connsiteY46" fmla="*/ 1259641 h 2789752"/>
                <a:gd name="connsiteX47" fmla="*/ 493153 w 1150689"/>
                <a:gd name="connsiteY47" fmla="*/ 1203731 h 2789752"/>
                <a:gd name="connsiteX48" fmla="*/ 548608 w 1150689"/>
                <a:gd name="connsiteY48" fmla="*/ 1147821 h 2789752"/>
                <a:gd name="connsiteX49" fmla="*/ 53666 w 1150689"/>
                <a:gd name="connsiteY49" fmla="*/ 1038869 h 2789752"/>
                <a:gd name="connsiteX50" fmla="*/ 109320 w 1150689"/>
                <a:gd name="connsiteY50" fmla="*/ 1094523 h 2789752"/>
                <a:gd name="connsiteX51" fmla="*/ 218639 w 1150689"/>
                <a:gd name="connsiteY51" fmla="*/ 1203842 h 2789752"/>
                <a:gd name="connsiteX52" fmla="*/ 274293 w 1150689"/>
                <a:gd name="connsiteY52" fmla="*/ 1259496 h 2789752"/>
                <a:gd name="connsiteX53" fmla="*/ 218639 w 1150689"/>
                <a:gd name="connsiteY53" fmla="*/ 1313162 h 2789752"/>
                <a:gd name="connsiteX54" fmla="*/ 0 w 1150689"/>
                <a:gd name="connsiteY54" fmla="*/ 1094523 h 2789752"/>
                <a:gd name="connsiteX55" fmla="*/ 53666 w 1150689"/>
                <a:gd name="connsiteY55" fmla="*/ 1038869 h 2789752"/>
                <a:gd name="connsiteX56" fmla="*/ 767468 w 1150689"/>
                <a:gd name="connsiteY56" fmla="*/ 765533 h 2789752"/>
                <a:gd name="connsiteX57" fmla="*/ 820942 w 1150689"/>
                <a:gd name="connsiteY57" fmla="*/ 765533 h 2789752"/>
                <a:gd name="connsiteX58" fmla="*/ 876397 w 1150689"/>
                <a:gd name="connsiteY58" fmla="*/ 820965 h 2789752"/>
                <a:gd name="connsiteX59" fmla="*/ 820942 w 1150689"/>
                <a:gd name="connsiteY59" fmla="*/ 876397 h 2789752"/>
                <a:gd name="connsiteX60" fmla="*/ 767468 w 1150689"/>
                <a:gd name="connsiteY60" fmla="*/ 876397 h 2789752"/>
                <a:gd name="connsiteX61" fmla="*/ 712013 w 1150689"/>
                <a:gd name="connsiteY61" fmla="*/ 820965 h 2789752"/>
                <a:gd name="connsiteX62" fmla="*/ 767468 w 1150689"/>
                <a:gd name="connsiteY62" fmla="*/ 765533 h 2789752"/>
                <a:gd name="connsiteX63" fmla="*/ 383429 w 1150689"/>
                <a:gd name="connsiteY63" fmla="*/ 547628 h 2789752"/>
                <a:gd name="connsiteX64" fmla="*/ 437059 w 1150689"/>
                <a:gd name="connsiteY64" fmla="*/ 603083 h 2789752"/>
                <a:gd name="connsiteX65" fmla="*/ 601921 w 1150689"/>
                <a:gd name="connsiteY65" fmla="*/ 765487 h 2789752"/>
                <a:gd name="connsiteX66" fmla="*/ 657537 w 1150689"/>
                <a:gd name="connsiteY66" fmla="*/ 820942 h 2789752"/>
                <a:gd name="connsiteX67" fmla="*/ 601921 w 1150689"/>
                <a:gd name="connsiteY67" fmla="*/ 876397 h 2789752"/>
                <a:gd name="connsiteX68" fmla="*/ 327813 w 1150689"/>
                <a:gd name="connsiteY68" fmla="*/ 603083 h 2789752"/>
                <a:gd name="connsiteX69" fmla="*/ 383429 w 1150689"/>
                <a:gd name="connsiteY69" fmla="*/ 547628 h 2789752"/>
                <a:gd name="connsiteX70" fmla="*/ 1095223 w 1150689"/>
                <a:gd name="connsiteY70" fmla="*/ 0 h 2789752"/>
                <a:gd name="connsiteX71" fmla="*/ 1150689 w 1150689"/>
                <a:gd name="connsiteY71" fmla="*/ 55616 h 2789752"/>
                <a:gd name="connsiteX72" fmla="*/ 1150689 w 1150689"/>
                <a:gd name="connsiteY72" fmla="*/ 274108 h 2789752"/>
                <a:gd name="connsiteX73" fmla="*/ 1095223 w 1150689"/>
                <a:gd name="connsiteY73" fmla="*/ 329724 h 2789752"/>
                <a:gd name="connsiteX74" fmla="*/ 1041737 w 1150689"/>
                <a:gd name="connsiteY74" fmla="*/ 274108 h 2789752"/>
                <a:gd name="connsiteX75" fmla="*/ 1041737 w 1150689"/>
                <a:gd name="connsiteY75" fmla="*/ 55616 h 2789752"/>
                <a:gd name="connsiteX76" fmla="*/ 1095223 w 1150689"/>
                <a:gd name="connsiteY76" fmla="*/ 0 h 2789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1150689" h="2789752">
                  <a:moveTo>
                    <a:pt x="931870" y="2462895"/>
                  </a:moveTo>
                  <a:cubicBezTo>
                    <a:pt x="961581" y="2462895"/>
                    <a:pt x="985349" y="2486667"/>
                    <a:pt x="985349" y="2516381"/>
                  </a:cubicBezTo>
                  <a:cubicBezTo>
                    <a:pt x="985349" y="2546095"/>
                    <a:pt x="961581" y="2571847"/>
                    <a:pt x="931870" y="2571847"/>
                  </a:cubicBezTo>
                  <a:cubicBezTo>
                    <a:pt x="872449" y="2571847"/>
                    <a:pt x="820951" y="2647124"/>
                    <a:pt x="820951" y="2734286"/>
                  </a:cubicBezTo>
                  <a:cubicBezTo>
                    <a:pt x="820951" y="2765981"/>
                    <a:pt x="797183" y="2789752"/>
                    <a:pt x="767473" y="2789752"/>
                  </a:cubicBezTo>
                  <a:cubicBezTo>
                    <a:pt x="737762" y="2789752"/>
                    <a:pt x="712013" y="2765981"/>
                    <a:pt x="712013" y="2734286"/>
                  </a:cubicBezTo>
                  <a:cubicBezTo>
                    <a:pt x="712013" y="2583733"/>
                    <a:pt x="811048" y="2462895"/>
                    <a:pt x="931870" y="2462895"/>
                  </a:cubicBezTo>
                  <a:close/>
                  <a:moveTo>
                    <a:pt x="602078" y="2189558"/>
                  </a:moveTo>
                  <a:cubicBezTo>
                    <a:pt x="631788" y="2189558"/>
                    <a:pt x="657537" y="2213326"/>
                    <a:pt x="657537" y="2243037"/>
                  </a:cubicBezTo>
                  <a:cubicBezTo>
                    <a:pt x="657537" y="2272747"/>
                    <a:pt x="631788" y="2298496"/>
                    <a:pt x="602078" y="2298496"/>
                  </a:cubicBezTo>
                  <a:cubicBezTo>
                    <a:pt x="542657" y="2298496"/>
                    <a:pt x="493139" y="2346033"/>
                    <a:pt x="493139" y="2407435"/>
                  </a:cubicBezTo>
                  <a:cubicBezTo>
                    <a:pt x="493139" y="2437145"/>
                    <a:pt x="469371" y="2462894"/>
                    <a:pt x="437680" y="2462894"/>
                  </a:cubicBezTo>
                  <a:cubicBezTo>
                    <a:pt x="407969" y="2462894"/>
                    <a:pt x="384201" y="2437145"/>
                    <a:pt x="384201" y="2407435"/>
                  </a:cubicBezTo>
                  <a:cubicBezTo>
                    <a:pt x="384201" y="2286612"/>
                    <a:pt x="481255" y="2189558"/>
                    <a:pt x="602078" y="2189558"/>
                  </a:cubicBezTo>
                  <a:close/>
                  <a:moveTo>
                    <a:pt x="1095223" y="1915266"/>
                  </a:moveTo>
                  <a:cubicBezTo>
                    <a:pt x="1126918" y="1915266"/>
                    <a:pt x="1150689" y="1939107"/>
                    <a:pt x="1150689" y="1968908"/>
                  </a:cubicBezTo>
                  <a:cubicBezTo>
                    <a:pt x="1150689" y="1968908"/>
                    <a:pt x="1150689" y="1968908"/>
                    <a:pt x="1150689" y="2189437"/>
                  </a:cubicBezTo>
                  <a:cubicBezTo>
                    <a:pt x="1150689" y="2219238"/>
                    <a:pt x="1126918" y="2243079"/>
                    <a:pt x="1095223" y="2243079"/>
                  </a:cubicBezTo>
                  <a:cubicBezTo>
                    <a:pt x="1065509" y="2243079"/>
                    <a:pt x="1041737" y="2219238"/>
                    <a:pt x="1041737" y="2189437"/>
                  </a:cubicBezTo>
                  <a:cubicBezTo>
                    <a:pt x="1041737" y="2189437"/>
                    <a:pt x="1041737" y="2189437"/>
                    <a:pt x="1041737" y="1968908"/>
                  </a:cubicBezTo>
                  <a:cubicBezTo>
                    <a:pt x="1041737" y="1939107"/>
                    <a:pt x="1065509" y="1915266"/>
                    <a:pt x="1095223" y="1915266"/>
                  </a:cubicBezTo>
                  <a:close/>
                  <a:moveTo>
                    <a:pt x="53642" y="1641929"/>
                  </a:moveTo>
                  <a:cubicBezTo>
                    <a:pt x="204635" y="1641929"/>
                    <a:pt x="327813" y="1764748"/>
                    <a:pt x="327813" y="1915300"/>
                  </a:cubicBezTo>
                  <a:cubicBezTo>
                    <a:pt x="327813" y="1945015"/>
                    <a:pt x="303972" y="1968786"/>
                    <a:pt x="274171" y="1968786"/>
                  </a:cubicBezTo>
                  <a:cubicBezTo>
                    <a:pt x="242383" y="1968786"/>
                    <a:pt x="218542" y="1945015"/>
                    <a:pt x="218542" y="1915300"/>
                  </a:cubicBezTo>
                  <a:cubicBezTo>
                    <a:pt x="218542" y="1824177"/>
                    <a:pt x="145033" y="1750881"/>
                    <a:pt x="53642" y="1750881"/>
                  </a:cubicBezTo>
                  <a:cubicBezTo>
                    <a:pt x="23841" y="1750881"/>
                    <a:pt x="0" y="1727110"/>
                    <a:pt x="0" y="1695415"/>
                  </a:cubicBezTo>
                  <a:cubicBezTo>
                    <a:pt x="0" y="1665701"/>
                    <a:pt x="23841" y="1641929"/>
                    <a:pt x="53642" y="1641929"/>
                  </a:cubicBezTo>
                  <a:close/>
                  <a:moveTo>
                    <a:pt x="821111" y="1586497"/>
                  </a:moveTo>
                  <a:cubicBezTo>
                    <a:pt x="852913" y="1586497"/>
                    <a:pt x="876765" y="1612246"/>
                    <a:pt x="876765" y="1641957"/>
                  </a:cubicBezTo>
                  <a:cubicBezTo>
                    <a:pt x="876765" y="1701377"/>
                    <a:pt x="926456" y="1750895"/>
                    <a:pt x="986085" y="1750895"/>
                  </a:cubicBezTo>
                  <a:cubicBezTo>
                    <a:pt x="1015899" y="1750895"/>
                    <a:pt x="1041738" y="1774663"/>
                    <a:pt x="1041738" y="1806354"/>
                  </a:cubicBezTo>
                  <a:cubicBezTo>
                    <a:pt x="1041738" y="1836065"/>
                    <a:pt x="1015899" y="1859833"/>
                    <a:pt x="986085" y="1859833"/>
                  </a:cubicBezTo>
                  <a:cubicBezTo>
                    <a:pt x="864839" y="1859833"/>
                    <a:pt x="767445" y="1762779"/>
                    <a:pt x="767445" y="1641957"/>
                  </a:cubicBezTo>
                  <a:cubicBezTo>
                    <a:pt x="767445" y="1612246"/>
                    <a:pt x="791297" y="1586497"/>
                    <a:pt x="821111" y="1586497"/>
                  </a:cubicBezTo>
                  <a:close/>
                  <a:moveTo>
                    <a:pt x="821111" y="1147821"/>
                  </a:moveTo>
                  <a:cubicBezTo>
                    <a:pt x="944344" y="1147821"/>
                    <a:pt x="1041738" y="1221412"/>
                    <a:pt x="1041738" y="1312903"/>
                  </a:cubicBezTo>
                  <a:cubicBezTo>
                    <a:pt x="1041738" y="1342737"/>
                    <a:pt x="1015899" y="1368593"/>
                    <a:pt x="986085" y="1368593"/>
                  </a:cubicBezTo>
                  <a:cubicBezTo>
                    <a:pt x="956270" y="1368593"/>
                    <a:pt x="932419" y="1342737"/>
                    <a:pt x="932419" y="1312903"/>
                  </a:cubicBezTo>
                  <a:cubicBezTo>
                    <a:pt x="932419" y="1291025"/>
                    <a:pt x="888691" y="1259202"/>
                    <a:pt x="821111" y="1259202"/>
                  </a:cubicBezTo>
                  <a:cubicBezTo>
                    <a:pt x="791297" y="1259202"/>
                    <a:pt x="767445" y="1233345"/>
                    <a:pt x="767445" y="1203511"/>
                  </a:cubicBezTo>
                  <a:cubicBezTo>
                    <a:pt x="767445" y="1173677"/>
                    <a:pt x="791297" y="1147821"/>
                    <a:pt x="821111" y="1147821"/>
                  </a:cubicBezTo>
                  <a:close/>
                  <a:moveTo>
                    <a:pt x="548608" y="1147821"/>
                  </a:moveTo>
                  <a:cubicBezTo>
                    <a:pt x="548608" y="1147821"/>
                    <a:pt x="548608" y="1147821"/>
                    <a:pt x="602082" y="1147821"/>
                  </a:cubicBezTo>
                  <a:cubicBezTo>
                    <a:pt x="631790" y="1147821"/>
                    <a:pt x="657537" y="1173779"/>
                    <a:pt x="657537" y="1203731"/>
                  </a:cubicBezTo>
                  <a:cubicBezTo>
                    <a:pt x="657537" y="1233683"/>
                    <a:pt x="631790" y="1259641"/>
                    <a:pt x="602082" y="1259641"/>
                  </a:cubicBezTo>
                  <a:cubicBezTo>
                    <a:pt x="602082" y="1259641"/>
                    <a:pt x="602082" y="1259641"/>
                    <a:pt x="548608" y="1259641"/>
                  </a:cubicBezTo>
                  <a:cubicBezTo>
                    <a:pt x="516919" y="1259641"/>
                    <a:pt x="493153" y="1233683"/>
                    <a:pt x="493153" y="1203731"/>
                  </a:cubicBezTo>
                  <a:cubicBezTo>
                    <a:pt x="493153" y="1173779"/>
                    <a:pt x="516919" y="1147821"/>
                    <a:pt x="548608" y="1147821"/>
                  </a:cubicBezTo>
                  <a:close/>
                  <a:moveTo>
                    <a:pt x="53666" y="1038869"/>
                  </a:moveTo>
                  <a:cubicBezTo>
                    <a:pt x="85468" y="1038869"/>
                    <a:pt x="109320" y="1064708"/>
                    <a:pt x="109320" y="1094523"/>
                  </a:cubicBezTo>
                  <a:cubicBezTo>
                    <a:pt x="109320" y="1154152"/>
                    <a:pt x="159011" y="1203842"/>
                    <a:pt x="218639" y="1203842"/>
                  </a:cubicBezTo>
                  <a:cubicBezTo>
                    <a:pt x="248454" y="1203842"/>
                    <a:pt x="274293" y="1227694"/>
                    <a:pt x="274293" y="1259496"/>
                  </a:cubicBezTo>
                  <a:cubicBezTo>
                    <a:pt x="274293" y="1289311"/>
                    <a:pt x="248454" y="1313162"/>
                    <a:pt x="218639" y="1313162"/>
                  </a:cubicBezTo>
                  <a:cubicBezTo>
                    <a:pt x="97394" y="1313162"/>
                    <a:pt x="0" y="1215768"/>
                    <a:pt x="0" y="1094523"/>
                  </a:cubicBezTo>
                  <a:cubicBezTo>
                    <a:pt x="0" y="1064708"/>
                    <a:pt x="23852" y="1038869"/>
                    <a:pt x="53666" y="1038869"/>
                  </a:cubicBezTo>
                  <a:close/>
                  <a:moveTo>
                    <a:pt x="767468" y="765533"/>
                  </a:moveTo>
                  <a:cubicBezTo>
                    <a:pt x="767468" y="765533"/>
                    <a:pt x="767468" y="765533"/>
                    <a:pt x="820942" y="765533"/>
                  </a:cubicBezTo>
                  <a:cubicBezTo>
                    <a:pt x="852631" y="765533"/>
                    <a:pt x="876397" y="791269"/>
                    <a:pt x="876397" y="820965"/>
                  </a:cubicBezTo>
                  <a:cubicBezTo>
                    <a:pt x="876397" y="850661"/>
                    <a:pt x="852631" y="876397"/>
                    <a:pt x="820942" y="876397"/>
                  </a:cubicBezTo>
                  <a:cubicBezTo>
                    <a:pt x="820942" y="876397"/>
                    <a:pt x="820942" y="876397"/>
                    <a:pt x="767468" y="876397"/>
                  </a:cubicBezTo>
                  <a:cubicBezTo>
                    <a:pt x="737760" y="876397"/>
                    <a:pt x="712013" y="850661"/>
                    <a:pt x="712013" y="820965"/>
                  </a:cubicBezTo>
                  <a:cubicBezTo>
                    <a:pt x="712013" y="791269"/>
                    <a:pt x="737760" y="765533"/>
                    <a:pt x="767468" y="765533"/>
                  </a:cubicBezTo>
                  <a:close/>
                  <a:moveTo>
                    <a:pt x="383429" y="547628"/>
                  </a:moveTo>
                  <a:cubicBezTo>
                    <a:pt x="413224" y="547628"/>
                    <a:pt x="437059" y="571394"/>
                    <a:pt x="437059" y="603083"/>
                  </a:cubicBezTo>
                  <a:cubicBezTo>
                    <a:pt x="437059" y="692207"/>
                    <a:pt x="510552" y="765487"/>
                    <a:pt x="601921" y="765487"/>
                  </a:cubicBezTo>
                  <a:cubicBezTo>
                    <a:pt x="631715" y="765487"/>
                    <a:pt x="657537" y="791234"/>
                    <a:pt x="657537" y="820942"/>
                  </a:cubicBezTo>
                  <a:cubicBezTo>
                    <a:pt x="657537" y="850650"/>
                    <a:pt x="631715" y="876397"/>
                    <a:pt x="601921" y="876397"/>
                  </a:cubicBezTo>
                  <a:cubicBezTo>
                    <a:pt x="450963" y="874416"/>
                    <a:pt x="327813" y="753604"/>
                    <a:pt x="327813" y="603083"/>
                  </a:cubicBezTo>
                  <a:cubicBezTo>
                    <a:pt x="327813" y="571394"/>
                    <a:pt x="353635" y="547628"/>
                    <a:pt x="383429" y="547628"/>
                  </a:cubicBezTo>
                  <a:close/>
                  <a:moveTo>
                    <a:pt x="1095223" y="0"/>
                  </a:moveTo>
                  <a:cubicBezTo>
                    <a:pt x="1126918" y="0"/>
                    <a:pt x="1150689" y="25822"/>
                    <a:pt x="1150689" y="55616"/>
                  </a:cubicBezTo>
                  <a:cubicBezTo>
                    <a:pt x="1150689" y="55616"/>
                    <a:pt x="1150689" y="55616"/>
                    <a:pt x="1150689" y="274108"/>
                  </a:cubicBezTo>
                  <a:cubicBezTo>
                    <a:pt x="1150689" y="303902"/>
                    <a:pt x="1126918" y="329724"/>
                    <a:pt x="1095223" y="329724"/>
                  </a:cubicBezTo>
                  <a:cubicBezTo>
                    <a:pt x="1065509" y="329724"/>
                    <a:pt x="1041737" y="303902"/>
                    <a:pt x="1041737" y="274108"/>
                  </a:cubicBezTo>
                  <a:lnTo>
                    <a:pt x="1041737" y="55616"/>
                  </a:lnTo>
                  <a:cubicBezTo>
                    <a:pt x="1041737" y="25822"/>
                    <a:pt x="1065509" y="0"/>
                    <a:pt x="1095223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17" name="ExtraShape2"/>
            <p:cNvSpPr/>
            <p:nvPr/>
          </p:nvSpPr>
          <p:spPr bwMode="auto">
            <a:xfrm>
              <a:off x="2780848" y="1344903"/>
              <a:ext cx="3272390" cy="3390900"/>
            </a:xfrm>
            <a:custGeom>
              <a:avLst/>
              <a:gdLst>
                <a:gd name="T0" fmla="*/ 1418 w 1647"/>
                <a:gd name="T1" fmla="*/ 635 h 1710"/>
                <a:gd name="T2" fmla="*/ 1332 w 1647"/>
                <a:gd name="T3" fmla="*/ 634 h 1710"/>
                <a:gd name="T4" fmla="*/ 1138 w 1647"/>
                <a:gd name="T5" fmla="*/ 772 h 1710"/>
                <a:gd name="T6" fmla="*/ 1219 w 1647"/>
                <a:gd name="T7" fmla="*/ 483 h 1710"/>
                <a:gd name="T8" fmla="*/ 1388 w 1647"/>
                <a:gd name="T9" fmla="*/ 343 h 1710"/>
                <a:gd name="T10" fmla="*/ 1194 w 1647"/>
                <a:gd name="T11" fmla="*/ 414 h 1710"/>
                <a:gd name="T12" fmla="*/ 1091 w 1647"/>
                <a:gd name="T13" fmla="*/ 532 h 1710"/>
                <a:gd name="T14" fmla="*/ 1083 w 1647"/>
                <a:gd name="T15" fmla="*/ 761 h 1710"/>
                <a:gd name="T16" fmla="*/ 1028 w 1647"/>
                <a:gd name="T17" fmla="*/ 165 h 1710"/>
                <a:gd name="T18" fmla="*/ 973 w 1647"/>
                <a:gd name="T19" fmla="*/ 165 h 1710"/>
                <a:gd name="T20" fmla="*/ 962 w 1647"/>
                <a:gd name="T21" fmla="*/ 883 h 1710"/>
                <a:gd name="T22" fmla="*/ 918 w 1647"/>
                <a:gd name="T23" fmla="*/ 62 h 1710"/>
                <a:gd name="T24" fmla="*/ 780 w 1647"/>
                <a:gd name="T25" fmla="*/ 0 h 1710"/>
                <a:gd name="T26" fmla="*/ 559 w 1647"/>
                <a:gd name="T27" fmla="*/ 138 h 1710"/>
                <a:gd name="T28" fmla="*/ 299 w 1647"/>
                <a:gd name="T29" fmla="*/ 325 h 1710"/>
                <a:gd name="T30" fmla="*/ 125 w 1647"/>
                <a:gd name="T31" fmla="*/ 918 h 1710"/>
                <a:gd name="T32" fmla="*/ 93 w 1647"/>
                <a:gd name="T33" fmla="*/ 1328 h 1710"/>
                <a:gd name="T34" fmla="*/ 559 w 1647"/>
                <a:gd name="T35" fmla="*/ 1572 h 1710"/>
                <a:gd name="T36" fmla="*/ 780 w 1647"/>
                <a:gd name="T37" fmla="*/ 1710 h 1710"/>
                <a:gd name="T38" fmla="*/ 918 w 1647"/>
                <a:gd name="T39" fmla="*/ 1648 h 1710"/>
                <a:gd name="T40" fmla="*/ 973 w 1647"/>
                <a:gd name="T41" fmla="*/ 938 h 1710"/>
                <a:gd name="T42" fmla="*/ 1001 w 1647"/>
                <a:gd name="T43" fmla="*/ 1545 h 1710"/>
                <a:gd name="T44" fmla="*/ 1028 w 1647"/>
                <a:gd name="T45" fmla="*/ 894 h 1710"/>
                <a:gd name="T46" fmla="*/ 1083 w 1647"/>
                <a:gd name="T47" fmla="*/ 1269 h 1710"/>
                <a:gd name="T48" fmla="*/ 1195 w 1647"/>
                <a:gd name="T49" fmla="*/ 1392 h 1710"/>
                <a:gd name="T50" fmla="*/ 1304 w 1647"/>
                <a:gd name="T51" fmla="*/ 1520 h 1710"/>
                <a:gd name="T52" fmla="*/ 1307 w 1647"/>
                <a:gd name="T53" fmla="*/ 1296 h 1710"/>
                <a:gd name="T54" fmla="*/ 1138 w 1647"/>
                <a:gd name="T55" fmla="*/ 1257 h 1710"/>
                <a:gd name="T56" fmla="*/ 1229 w 1647"/>
                <a:gd name="T57" fmla="*/ 1068 h 1710"/>
                <a:gd name="T58" fmla="*/ 1304 w 1647"/>
                <a:gd name="T59" fmla="*/ 1076 h 1710"/>
                <a:gd name="T60" fmla="*/ 1442 w 1647"/>
                <a:gd name="T61" fmla="*/ 1155 h 1710"/>
                <a:gd name="T62" fmla="*/ 1388 w 1647"/>
                <a:gd name="T63" fmla="*/ 941 h 1710"/>
                <a:gd name="T64" fmla="*/ 1304 w 1647"/>
                <a:gd name="T65" fmla="*/ 1021 h 1710"/>
                <a:gd name="T66" fmla="*/ 1138 w 1647"/>
                <a:gd name="T67" fmla="*/ 899 h 1710"/>
                <a:gd name="T68" fmla="*/ 1341 w 1647"/>
                <a:gd name="T69" fmla="*/ 689 h 1710"/>
                <a:gd name="T70" fmla="*/ 1418 w 1647"/>
                <a:gd name="T71" fmla="*/ 689 h 1710"/>
                <a:gd name="T72" fmla="*/ 1632 w 1647"/>
                <a:gd name="T73" fmla="*/ 635 h 1710"/>
                <a:gd name="T74" fmla="*/ 1304 w 1647"/>
                <a:gd name="T75" fmla="*/ 358 h 1710"/>
                <a:gd name="T76" fmla="*/ 1304 w 1647"/>
                <a:gd name="T77" fmla="*/ 469 h 1710"/>
                <a:gd name="T78" fmla="*/ 1304 w 1647"/>
                <a:gd name="T79" fmla="*/ 358 h 1710"/>
                <a:gd name="T80" fmla="*/ 780 w 1647"/>
                <a:gd name="T81" fmla="*/ 1655 h 1710"/>
                <a:gd name="T82" fmla="*/ 586 w 1647"/>
                <a:gd name="T83" fmla="*/ 1514 h 1710"/>
                <a:gd name="T84" fmla="*/ 559 w 1647"/>
                <a:gd name="T85" fmla="*/ 1517 h 1710"/>
                <a:gd name="T86" fmla="*/ 451 w 1647"/>
                <a:gd name="T87" fmla="*/ 1385 h 1710"/>
                <a:gd name="T88" fmla="*/ 411 w 1647"/>
                <a:gd name="T89" fmla="*/ 1355 h 1710"/>
                <a:gd name="T90" fmla="*/ 198 w 1647"/>
                <a:gd name="T91" fmla="*/ 969 h 1710"/>
                <a:gd name="T92" fmla="*/ 202 w 1647"/>
                <a:gd name="T93" fmla="*/ 924 h 1710"/>
                <a:gd name="T94" fmla="*/ 241 w 1647"/>
                <a:gd name="T95" fmla="*/ 650 h 1710"/>
                <a:gd name="T96" fmla="*/ 253 w 1647"/>
                <a:gd name="T97" fmla="*/ 610 h 1710"/>
                <a:gd name="T98" fmla="*/ 323 w 1647"/>
                <a:gd name="T99" fmla="*/ 374 h 1710"/>
                <a:gd name="T100" fmla="*/ 419 w 1647"/>
                <a:gd name="T101" fmla="*/ 361 h 1710"/>
                <a:gd name="T102" fmla="*/ 451 w 1647"/>
                <a:gd name="T103" fmla="*/ 328 h 1710"/>
                <a:gd name="T104" fmla="*/ 559 w 1647"/>
                <a:gd name="T105" fmla="*/ 193 h 1710"/>
                <a:gd name="T106" fmla="*/ 620 w 1647"/>
                <a:gd name="T107" fmla="*/ 177 h 1710"/>
                <a:gd name="T108" fmla="*/ 780 w 1647"/>
                <a:gd name="T109" fmla="*/ 55 h 1710"/>
                <a:gd name="T110" fmla="*/ 863 w 1647"/>
                <a:gd name="T111" fmla="*/ 1633 h 1710"/>
                <a:gd name="T112" fmla="*/ 1359 w 1647"/>
                <a:gd name="T113" fmla="*/ 1407 h 1710"/>
                <a:gd name="T114" fmla="*/ 1249 w 1647"/>
                <a:gd name="T115" fmla="*/ 1407 h 1710"/>
                <a:gd name="T116" fmla="*/ 1414 w 1647"/>
                <a:gd name="T117" fmla="*/ 993 h 1710"/>
                <a:gd name="T118" fmla="*/ 1414 w 1647"/>
                <a:gd name="T119" fmla="*/ 1103 h 1710"/>
                <a:gd name="T120" fmla="*/ 1414 w 1647"/>
                <a:gd name="T121" fmla="*/ 993 h 1710"/>
                <a:gd name="T122" fmla="*/ 1469 w 1647"/>
                <a:gd name="T123" fmla="*/ 662 h 1710"/>
                <a:gd name="T124" fmla="*/ 1580 w 1647"/>
                <a:gd name="T125" fmla="*/ 662 h 1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47" h="1710">
                  <a:moveTo>
                    <a:pt x="1525" y="552"/>
                  </a:moveTo>
                  <a:cubicBezTo>
                    <a:pt x="1474" y="552"/>
                    <a:pt x="1430" y="586"/>
                    <a:pt x="1418" y="635"/>
                  </a:cubicBezTo>
                  <a:cubicBezTo>
                    <a:pt x="1417" y="635"/>
                    <a:pt x="1416" y="634"/>
                    <a:pt x="1414" y="634"/>
                  </a:cubicBezTo>
                  <a:cubicBezTo>
                    <a:pt x="1332" y="634"/>
                    <a:pt x="1332" y="634"/>
                    <a:pt x="1332" y="634"/>
                  </a:cubicBezTo>
                  <a:cubicBezTo>
                    <a:pt x="1326" y="634"/>
                    <a:pt x="1320" y="636"/>
                    <a:pt x="1315" y="640"/>
                  </a:cubicBezTo>
                  <a:cubicBezTo>
                    <a:pt x="1138" y="772"/>
                    <a:pt x="1138" y="772"/>
                    <a:pt x="1138" y="772"/>
                  </a:cubicBezTo>
                  <a:cubicBezTo>
                    <a:pt x="1138" y="563"/>
                    <a:pt x="1138" y="563"/>
                    <a:pt x="1138" y="563"/>
                  </a:cubicBezTo>
                  <a:cubicBezTo>
                    <a:pt x="1219" y="483"/>
                    <a:pt x="1219" y="483"/>
                    <a:pt x="1219" y="483"/>
                  </a:cubicBezTo>
                  <a:cubicBezTo>
                    <a:pt x="1257" y="530"/>
                    <a:pt x="1326" y="536"/>
                    <a:pt x="1373" y="498"/>
                  </a:cubicBezTo>
                  <a:cubicBezTo>
                    <a:pt x="1420" y="459"/>
                    <a:pt x="1426" y="390"/>
                    <a:pt x="1388" y="343"/>
                  </a:cubicBezTo>
                  <a:cubicBezTo>
                    <a:pt x="1349" y="296"/>
                    <a:pt x="1280" y="290"/>
                    <a:pt x="1234" y="328"/>
                  </a:cubicBezTo>
                  <a:cubicBezTo>
                    <a:pt x="1208" y="349"/>
                    <a:pt x="1193" y="381"/>
                    <a:pt x="1194" y="414"/>
                  </a:cubicBezTo>
                  <a:cubicBezTo>
                    <a:pt x="1194" y="419"/>
                    <a:pt x="1194" y="423"/>
                    <a:pt x="1195" y="428"/>
                  </a:cubicBezTo>
                  <a:cubicBezTo>
                    <a:pt x="1091" y="532"/>
                    <a:pt x="1091" y="532"/>
                    <a:pt x="1091" y="532"/>
                  </a:cubicBezTo>
                  <a:cubicBezTo>
                    <a:pt x="1086" y="537"/>
                    <a:pt x="1083" y="544"/>
                    <a:pt x="1083" y="552"/>
                  </a:cubicBezTo>
                  <a:cubicBezTo>
                    <a:pt x="1083" y="761"/>
                    <a:pt x="1083" y="761"/>
                    <a:pt x="1083" y="761"/>
                  </a:cubicBezTo>
                  <a:cubicBezTo>
                    <a:pt x="1028" y="816"/>
                    <a:pt x="1028" y="816"/>
                    <a:pt x="1028" y="816"/>
                  </a:cubicBezTo>
                  <a:cubicBezTo>
                    <a:pt x="1028" y="165"/>
                    <a:pt x="1028" y="165"/>
                    <a:pt x="1028" y="165"/>
                  </a:cubicBezTo>
                  <a:cubicBezTo>
                    <a:pt x="1028" y="150"/>
                    <a:pt x="1016" y="138"/>
                    <a:pt x="1001" y="138"/>
                  </a:cubicBezTo>
                  <a:cubicBezTo>
                    <a:pt x="985" y="138"/>
                    <a:pt x="973" y="150"/>
                    <a:pt x="973" y="165"/>
                  </a:cubicBezTo>
                  <a:cubicBezTo>
                    <a:pt x="973" y="871"/>
                    <a:pt x="973" y="871"/>
                    <a:pt x="973" y="871"/>
                  </a:cubicBezTo>
                  <a:cubicBezTo>
                    <a:pt x="962" y="883"/>
                    <a:pt x="962" y="883"/>
                    <a:pt x="962" y="883"/>
                  </a:cubicBezTo>
                  <a:cubicBezTo>
                    <a:pt x="918" y="883"/>
                    <a:pt x="918" y="883"/>
                    <a:pt x="918" y="883"/>
                  </a:cubicBezTo>
                  <a:cubicBezTo>
                    <a:pt x="918" y="62"/>
                    <a:pt x="918" y="62"/>
                    <a:pt x="918" y="62"/>
                  </a:cubicBezTo>
                  <a:cubicBezTo>
                    <a:pt x="918" y="53"/>
                    <a:pt x="913" y="45"/>
                    <a:pt x="906" y="40"/>
                  </a:cubicBezTo>
                  <a:cubicBezTo>
                    <a:pt x="869" y="14"/>
                    <a:pt x="825" y="0"/>
                    <a:pt x="780" y="0"/>
                  </a:cubicBezTo>
                  <a:cubicBezTo>
                    <a:pt x="690" y="0"/>
                    <a:pt x="609" y="55"/>
                    <a:pt x="575" y="138"/>
                  </a:cubicBezTo>
                  <a:cubicBezTo>
                    <a:pt x="570" y="138"/>
                    <a:pt x="565" y="138"/>
                    <a:pt x="559" y="138"/>
                  </a:cubicBezTo>
                  <a:cubicBezTo>
                    <a:pt x="468" y="138"/>
                    <a:pt x="394" y="212"/>
                    <a:pt x="394" y="303"/>
                  </a:cubicBezTo>
                  <a:cubicBezTo>
                    <a:pt x="361" y="303"/>
                    <a:pt x="329" y="310"/>
                    <a:pt x="299" y="325"/>
                  </a:cubicBezTo>
                  <a:cubicBezTo>
                    <a:pt x="191" y="376"/>
                    <a:pt x="143" y="504"/>
                    <a:pt x="192" y="614"/>
                  </a:cubicBezTo>
                  <a:cubicBezTo>
                    <a:pt x="90" y="679"/>
                    <a:pt x="59" y="816"/>
                    <a:pt x="125" y="918"/>
                  </a:cubicBezTo>
                  <a:cubicBezTo>
                    <a:pt x="130" y="926"/>
                    <a:pt x="135" y="934"/>
                    <a:pt x="141" y="941"/>
                  </a:cubicBezTo>
                  <a:cubicBezTo>
                    <a:pt x="21" y="1034"/>
                    <a:pt x="0" y="1208"/>
                    <a:pt x="93" y="1328"/>
                  </a:cubicBezTo>
                  <a:cubicBezTo>
                    <a:pt x="164" y="1419"/>
                    <a:pt x="284" y="1456"/>
                    <a:pt x="394" y="1421"/>
                  </a:cubicBezTo>
                  <a:cubicBezTo>
                    <a:pt x="402" y="1507"/>
                    <a:pt x="473" y="1572"/>
                    <a:pt x="559" y="1572"/>
                  </a:cubicBezTo>
                  <a:cubicBezTo>
                    <a:pt x="565" y="1572"/>
                    <a:pt x="570" y="1572"/>
                    <a:pt x="575" y="1572"/>
                  </a:cubicBezTo>
                  <a:cubicBezTo>
                    <a:pt x="609" y="1655"/>
                    <a:pt x="690" y="1710"/>
                    <a:pt x="780" y="1710"/>
                  </a:cubicBezTo>
                  <a:cubicBezTo>
                    <a:pt x="825" y="1710"/>
                    <a:pt x="869" y="1696"/>
                    <a:pt x="906" y="1670"/>
                  </a:cubicBezTo>
                  <a:cubicBezTo>
                    <a:pt x="913" y="1665"/>
                    <a:pt x="918" y="1657"/>
                    <a:pt x="918" y="1648"/>
                  </a:cubicBezTo>
                  <a:cubicBezTo>
                    <a:pt x="918" y="938"/>
                    <a:pt x="918" y="938"/>
                    <a:pt x="918" y="938"/>
                  </a:cubicBezTo>
                  <a:cubicBezTo>
                    <a:pt x="973" y="938"/>
                    <a:pt x="973" y="938"/>
                    <a:pt x="973" y="938"/>
                  </a:cubicBezTo>
                  <a:cubicBezTo>
                    <a:pt x="973" y="1517"/>
                    <a:pt x="973" y="1517"/>
                    <a:pt x="973" y="1517"/>
                  </a:cubicBezTo>
                  <a:cubicBezTo>
                    <a:pt x="973" y="1532"/>
                    <a:pt x="985" y="1545"/>
                    <a:pt x="1001" y="1545"/>
                  </a:cubicBezTo>
                  <a:cubicBezTo>
                    <a:pt x="1016" y="1545"/>
                    <a:pt x="1028" y="1532"/>
                    <a:pt x="1028" y="1517"/>
                  </a:cubicBezTo>
                  <a:cubicBezTo>
                    <a:pt x="1028" y="894"/>
                    <a:pt x="1028" y="894"/>
                    <a:pt x="1028" y="894"/>
                  </a:cubicBezTo>
                  <a:cubicBezTo>
                    <a:pt x="1083" y="839"/>
                    <a:pt x="1083" y="839"/>
                    <a:pt x="1083" y="839"/>
                  </a:cubicBezTo>
                  <a:cubicBezTo>
                    <a:pt x="1083" y="1269"/>
                    <a:pt x="1083" y="1269"/>
                    <a:pt x="1083" y="1269"/>
                  </a:cubicBezTo>
                  <a:cubicBezTo>
                    <a:pt x="1083" y="1276"/>
                    <a:pt x="1086" y="1283"/>
                    <a:pt x="1091" y="1288"/>
                  </a:cubicBezTo>
                  <a:cubicBezTo>
                    <a:pt x="1195" y="1392"/>
                    <a:pt x="1195" y="1392"/>
                    <a:pt x="1195" y="1392"/>
                  </a:cubicBezTo>
                  <a:cubicBezTo>
                    <a:pt x="1194" y="1397"/>
                    <a:pt x="1194" y="1402"/>
                    <a:pt x="1194" y="1407"/>
                  </a:cubicBezTo>
                  <a:cubicBezTo>
                    <a:pt x="1193" y="1468"/>
                    <a:pt x="1242" y="1519"/>
                    <a:pt x="1304" y="1520"/>
                  </a:cubicBezTo>
                  <a:cubicBezTo>
                    <a:pt x="1366" y="1521"/>
                    <a:pt x="1416" y="1471"/>
                    <a:pt x="1417" y="1409"/>
                  </a:cubicBezTo>
                  <a:cubicBezTo>
                    <a:pt x="1418" y="1348"/>
                    <a:pt x="1368" y="1297"/>
                    <a:pt x="1307" y="1296"/>
                  </a:cubicBezTo>
                  <a:cubicBezTo>
                    <a:pt x="1273" y="1296"/>
                    <a:pt x="1240" y="1311"/>
                    <a:pt x="1219" y="1338"/>
                  </a:cubicBezTo>
                  <a:cubicBezTo>
                    <a:pt x="1138" y="1257"/>
                    <a:pt x="1138" y="1257"/>
                    <a:pt x="1138" y="1257"/>
                  </a:cubicBezTo>
                  <a:cubicBezTo>
                    <a:pt x="1138" y="977"/>
                    <a:pt x="1138" y="977"/>
                    <a:pt x="1138" y="977"/>
                  </a:cubicBezTo>
                  <a:cubicBezTo>
                    <a:pt x="1229" y="1068"/>
                    <a:pt x="1229" y="1068"/>
                    <a:pt x="1229" y="1068"/>
                  </a:cubicBezTo>
                  <a:cubicBezTo>
                    <a:pt x="1234" y="1073"/>
                    <a:pt x="1241" y="1076"/>
                    <a:pt x="1249" y="1076"/>
                  </a:cubicBezTo>
                  <a:cubicBezTo>
                    <a:pt x="1304" y="1076"/>
                    <a:pt x="1304" y="1076"/>
                    <a:pt x="1304" y="1076"/>
                  </a:cubicBezTo>
                  <a:cubicBezTo>
                    <a:pt x="1305" y="1076"/>
                    <a:pt x="1306" y="1075"/>
                    <a:pt x="1308" y="1075"/>
                  </a:cubicBezTo>
                  <a:cubicBezTo>
                    <a:pt x="1322" y="1134"/>
                    <a:pt x="1382" y="1170"/>
                    <a:pt x="1442" y="1155"/>
                  </a:cubicBezTo>
                  <a:cubicBezTo>
                    <a:pt x="1501" y="1140"/>
                    <a:pt x="1537" y="1080"/>
                    <a:pt x="1522" y="1021"/>
                  </a:cubicBezTo>
                  <a:cubicBezTo>
                    <a:pt x="1507" y="962"/>
                    <a:pt x="1447" y="926"/>
                    <a:pt x="1388" y="941"/>
                  </a:cubicBezTo>
                  <a:cubicBezTo>
                    <a:pt x="1348" y="951"/>
                    <a:pt x="1318" y="982"/>
                    <a:pt x="1308" y="1021"/>
                  </a:cubicBezTo>
                  <a:cubicBezTo>
                    <a:pt x="1306" y="1021"/>
                    <a:pt x="1305" y="1021"/>
                    <a:pt x="1304" y="1021"/>
                  </a:cubicBezTo>
                  <a:cubicBezTo>
                    <a:pt x="1260" y="1021"/>
                    <a:pt x="1260" y="1021"/>
                    <a:pt x="1260" y="1021"/>
                  </a:cubicBezTo>
                  <a:cubicBezTo>
                    <a:pt x="1138" y="899"/>
                    <a:pt x="1138" y="899"/>
                    <a:pt x="1138" y="899"/>
                  </a:cubicBezTo>
                  <a:cubicBezTo>
                    <a:pt x="1138" y="841"/>
                    <a:pt x="1138" y="841"/>
                    <a:pt x="1138" y="841"/>
                  </a:cubicBezTo>
                  <a:cubicBezTo>
                    <a:pt x="1341" y="689"/>
                    <a:pt x="1341" y="689"/>
                    <a:pt x="1341" y="689"/>
                  </a:cubicBezTo>
                  <a:cubicBezTo>
                    <a:pt x="1414" y="689"/>
                    <a:pt x="1414" y="689"/>
                    <a:pt x="1414" y="689"/>
                  </a:cubicBezTo>
                  <a:cubicBezTo>
                    <a:pt x="1416" y="689"/>
                    <a:pt x="1417" y="689"/>
                    <a:pt x="1418" y="689"/>
                  </a:cubicBezTo>
                  <a:cubicBezTo>
                    <a:pt x="1433" y="748"/>
                    <a:pt x="1493" y="783"/>
                    <a:pt x="1552" y="769"/>
                  </a:cubicBezTo>
                  <a:cubicBezTo>
                    <a:pt x="1611" y="754"/>
                    <a:pt x="1647" y="694"/>
                    <a:pt x="1632" y="635"/>
                  </a:cubicBezTo>
                  <a:cubicBezTo>
                    <a:pt x="1619" y="586"/>
                    <a:pt x="1575" y="551"/>
                    <a:pt x="1525" y="552"/>
                  </a:cubicBezTo>
                  <a:close/>
                  <a:moveTo>
                    <a:pt x="1304" y="358"/>
                  </a:moveTo>
                  <a:cubicBezTo>
                    <a:pt x="1334" y="358"/>
                    <a:pt x="1359" y="383"/>
                    <a:pt x="1359" y="414"/>
                  </a:cubicBezTo>
                  <a:cubicBezTo>
                    <a:pt x="1359" y="444"/>
                    <a:pt x="1334" y="469"/>
                    <a:pt x="1304" y="469"/>
                  </a:cubicBezTo>
                  <a:cubicBezTo>
                    <a:pt x="1273" y="469"/>
                    <a:pt x="1249" y="444"/>
                    <a:pt x="1249" y="414"/>
                  </a:cubicBezTo>
                  <a:cubicBezTo>
                    <a:pt x="1249" y="383"/>
                    <a:pt x="1273" y="358"/>
                    <a:pt x="1304" y="358"/>
                  </a:cubicBezTo>
                  <a:close/>
                  <a:moveTo>
                    <a:pt x="863" y="1633"/>
                  </a:moveTo>
                  <a:cubicBezTo>
                    <a:pt x="837" y="1648"/>
                    <a:pt x="809" y="1655"/>
                    <a:pt x="780" y="1655"/>
                  </a:cubicBezTo>
                  <a:cubicBezTo>
                    <a:pt x="705" y="1655"/>
                    <a:pt x="640" y="1605"/>
                    <a:pt x="620" y="1533"/>
                  </a:cubicBezTo>
                  <a:cubicBezTo>
                    <a:pt x="616" y="1518"/>
                    <a:pt x="601" y="1510"/>
                    <a:pt x="586" y="1514"/>
                  </a:cubicBezTo>
                  <a:cubicBezTo>
                    <a:pt x="586" y="1514"/>
                    <a:pt x="586" y="1514"/>
                    <a:pt x="586" y="1514"/>
                  </a:cubicBezTo>
                  <a:cubicBezTo>
                    <a:pt x="577" y="1516"/>
                    <a:pt x="568" y="1517"/>
                    <a:pt x="559" y="1517"/>
                  </a:cubicBezTo>
                  <a:cubicBezTo>
                    <a:pt x="498" y="1517"/>
                    <a:pt x="449" y="1468"/>
                    <a:pt x="449" y="1407"/>
                  </a:cubicBezTo>
                  <a:cubicBezTo>
                    <a:pt x="449" y="1400"/>
                    <a:pt x="449" y="1392"/>
                    <a:pt x="451" y="1385"/>
                  </a:cubicBezTo>
                  <a:cubicBezTo>
                    <a:pt x="454" y="1370"/>
                    <a:pt x="445" y="1356"/>
                    <a:pt x="430" y="1353"/>
                  </a:cubicBezTo>
                  <a:cubicBezTo>
                    <a:pt x="424" y="1351"/>
                    <a:pt x="417" y="1352"/>
                    <a:pt x="411" y="1355"/>
                  </a:cubicBezTo>
                  <a:cubicBezTo>
                    <a:pt x="303" y="1410"/>
                    <a:pt x="170" y="1366"/>
                    <a:pt x="115" y="1257"/>
                  </a:cubicBezTo>
                  <a:cubicBezTo>
                    <a:pt x="63" y="1154"/>
                    <a:pt x="99" y="1029"/>
                    <a:pt x="198" y="969"/>
                  </a:cubicBezTo>
                  <a:cubicBezTo>
                    <a:pt x="211" y="961"/>
                    <a:pt x="215" y="944"/>
                    <a:pt x="208" y="931"/>
                  </a:cubicBezTo>
                  <a:cubicBezTo>
                    <a:pt x="206" y="929"/>
                    <a:pt x="204" y="926"/>
                    <a:pt x="202" y="924"/>
                  </a:cubicBezTo>
                  <a:cubicBezTo>
                    <a:pt x="133" y="864"/>
                    <a:pt x="126" y="760"/>
                    <a:pt x="186" y="691"/>
                  </a:cubicBezTo>
                  <a:cubicBezTo>
                    <a:pt x="201" y="674"/>
                    <a:pt x="220" y="660"/>
                    <a:pt x="241" y="650"/>
                  </a:cubicBezTo>
                  <a:cubicBezTo>
                    <a:pt x="255" y="644"/>
                    <a:pt x="261" y="627"/>
                    <a:pt x="254" y="613"/>
                  </a:cubicBezTo>
                  <a:cubicBezTo>
                    <a:pt x="254" y="612"/>
                    <a:pt x="253" y="611"/>
                    <a:pt x="253" y="610"/>
                  </a:cubicBezTo>
                  <a:cubicBezTo>
                    <a:pt x="205" y="533"/>
                    <a:pt x="229" y="431"/>
                    <a:pt x="307" y="383"/>
                  </a:cubicBezTo>
                  <a:cubicBezTo>
                    <a:pt x="312" y="380"/>
                    <a:pt x="317" y="377"/>
                    <a:pt x="323" y="374"/>
                  </a:cubicBezTo>
                  <a:cubicBezTo>
                    <a:pt x="345" y="364"/>
                    <a:pt x="369" y="358"/>
                    <a:pt x="394" y="358"/>
                  </a:cubicBezTo>
                  <a:cubicBezTo>
                    <a:pt x="402" y="358"/>
                    <a:pt x="411" y="359"/>
                    <a:pt x="419" y="361"/>
                  </a:cubicBezTo>
                  <a:cubicBezTo>
                    <a:pt x="434" y="364"/>
                    <a:pt x="449" y="354"/>
                    <a:pt x="452" y="339"/>
                  </a:cubicBezTo>
                  <a:cubicBezTo>
                    <a:pt x="452" y="335"/>
                    <a:pt x="452" y="331"/>
                    <a:pt x="451" y="328"/>
                  </a:cubicBezTo>
                  <a:cubicBezTo>
                    <a:pt x="438" y="268"/>
                    <a:pt x="476" y="209"/>
                    <a:pt x="535" y="196"/>
                  </a:cubicBezTo>
                  <a:cubicBezTo>
                    <a:pt x="543" y="194"/>
                    <a:pt x="551" y="193"/>
                    <a:pt x="559" y="193"/>
                  </a:cubicBezTo>
                  <a:cubicBezTo>
                    <a:pt x="568" y="193"/>
                    <a:pt x="577" y="194"/>
                    <a:pt x="586" y="196"/>
                  </a:cubicBezTo>
                  <a:cubicBezTo>
                    <a:pt x="601" y="200"/>
                    <a:pt x="616" y="192"/>
                    <a:pt x="620" y="177"/>
                  </a:cubicBezTo>
                  <a:cubicBezTo>
                    <a:pt x="620" y="177"/>
                    <a:pt x="620" y="177"/>
                    <a:pt x="620" y="177"/>
                  </a:cubicBezTo>
                  <a:cubicBezTo>
                    <a:pt x="640" y="105"/>
                    <a:pt x="705" y="55"/>
                    <a:pt x="780" y="55"/>
                  </a:cubicBezTo>
                  <a:cubicBezTo>
                    <a:pt x="809" y="55"/>
                    <a:pt x="837" y="62"/>
                    <a:pt x="863" y="77"/>
                  </a:cubicBezTo>
                  <a:lnTo>
                    <a:pt x="863" y="1633"/>
                  </a:lnTo>
                  <a:close/>
                  <a:moveTo>
                    <a:pt x="1304" y="1352"/>
                  </a:moveTo>
                  <a:cubicBezTo>
                    <a:pt x="1334" y="1352"/>
                    <a:pt x="1359" y="1376"/>
                    <a:pt x="1359" y="1407"/>
                  </a:cubicBezTo>
                  <a:cubicBezTo>
                    <a:pt x="1359" y="1437"/>
                    <a:pt x="1334" y="1462"/>
                    <a:pt x="1304" y="1462"/>
                  </a:cubicBezTo>
                  <a:cubicBezTo>
                    <a:pt x="1273" y="1462"/>
                    <a:pt x="1249" y="1437"/>
                    <a:pt x="1249" y="1407"/>
                  </a:cubicBezTo>
                  <a:cubicBezTo>
                    <a:pt x="1249" y="1376"/>
                    <a:pt x="1273" y="1352"/>
                    <a:pt x="1304" y="1352"/>
                  </a:cubicBezTo>
                  <a:close/>
                  <a:moveTo>
                    <a:pt x="1414" y="993"/>
                  </a:moveTo>
                  <a:cubicBezTo>
                    <a:pt x="1445" y="993"/>
                    <a:pt x="1469" y="1018"/>
                    <a:pt x="1469" y="1048"/>
                  </a:cubicBezTo>
                  <a:cubicBezTo>
                    <a:pt x="1469" y="1079"/>
                    <a:pt x="1445" y="1103"/>
                    <a:pt x="1414" y="1103"/>
                  </a:cubicBezTo>
                  <a:cubicBezTo>
                    <a:pt x="1384" y="1103"/>
                    <a:pt x="1359" y="1079"/>
                    <a:pt x="1359" y="1048"/>
                  </a:cubicBezTo>
                  <a:cubicBezTo>
                    <a:pt x="1359" y="1018"/>
                    <a:pt x="1384" y="993"/>
                    <a:pt x="1414" y="993"/>
                  </a:cubicBezTo>
                  <a:close/>
                  <a:moveTo>
                    <a:pt x="1525" y="717"/>
                  </a:moveTo>
                  <a:cubicBezTo>
                    <a:pt x="1494" y="717"/>
                    <a:pt x="1469" y="692"/>
                    <a:pt x="1469" y="662"/>
                  </a:cubicBezTo>
                  <a:cubicBezTo>
                    <a:pt x="1469" y="631"/>
                    <a:pt x="1494" y="607"/>
                    <a:pt x="1525" y="607"/>
                  </a:cubicBezTo>
                  <a:cubicBezTo>
                    <a:pt x="1555" y="607"/>
                    <a:pt x="1580" y="631"/>
                    <a:pt x="1580" y="662"/>
                  </a:cubicBezTo>
                  <a:cubicBezTo>
                    <a:pt x="1580" y="692"/>
                    <a:pt x="1555" y="717"/>
                    <a:pt x="1525" y="71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" name="ExtraShape"/>
            <p:cNvSpPr/>
            <p:nvPr/>
          </p:nvSpPr>
          <p:spPr bwMode="auto">
            <a:xfrm>
              <a:off x="4932176" y="1562808"/>
              <a:ext cx="109908" cy="2899659"/>
            </a:xfrm>
            <a:custGeom>
              <a:avLst/>
              <a:gdLst>
                <a:gd name="connsiteX0" fmla="*/ 55953 w 109908"/>
                <a:gd name="connsiteY0" fmla="*/ 2571846 h 2899659"/>
                <a:gd name="connsiteX1" fmla="*/ 109908 w 109908"/>
                <a:gd name="connsiteY1" fmla="*/ 2625488 h 2899659"/>
                <a:gd name="connsiteX2" fmla="*/ 109908 w 109908"/>
                <a:gd name="connsiteY2" fmla="*/ 2846017 h 2899659"/>
                <a:gd name="connsiteX3" fmla="*/ 55953 w 109908"/>
                <a:gd name="connsiteY3" fmla="*/ 2899659 h 2899659"/>
                <a:gd name="connsiteX4" fmla="*/ 0 w 109908"/>
                <a:gd name="connsiteY4" fmla="*/ 2846017 h 2899659"/>
                <a:gd name="connsiteX5" fmla="*/ 0 w 109908"/>
                <a:gd name="connsiteY5" fmla="*/ 2625488 h 2899659"/>
                <a:gd name="connsiteX6" fmla="*/ 55953 w 109908"/>
                <a:gd name="connsiteY6" fmla="*/ 2571846 h 2899659"/>
                <a:gd name="connsiteX7" fmla="*/ 55953 w 109908"/>
                <a:gd name="connsiteY7" fmla="*/ 0 h 2899659"/>
                <a:gd name="connsiteX8" fmla="*/ 109908 w 109908"/>
                <a:gd name="connsiteY8" fmla="*/ 55579 h 2899659"/>
                <a:gd name="connsiteX9" fmla="*/ 109908 w 109908"/>
                <a:gd name="connsiteY9" fmla="*/ 383097 h 2899659"/>
                <a:gd name="connsiteX10" fmla="*/ 55953 w 109908"/>
                <a:gd name="connsiteY10" fmla="*/ 438676 h 2899659"/>
                <a:gd name="connsiteX11" fmla="*/ 0 w 109908"/>
                <a:gd name="connsiteY11" fmla="*/ 383097 h 2899659"/>
                <a:gd name="connsiteX12" fmla="*/ 0 w 109908"/>
                <a:gd name="connsiteY12" fmla="*/ 55579 h 2899659"/>
                <a:gd name="connsiteX13" fmla="*/ 55953 w 109908"/>
                <a:gd name="connsiteY13" fmla="*/ 0 h 2899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9908" h="2899659">
                  <a:moveTo>
                    <a:pt x="55953" y="2571846"/>
                  </a:moveTo>
                  <a:cubicBezTo>
                    <a:pt x="85928" y="2571846"/>
                    <a:pt x="109908" y="2595687"/>
                    <a:pt x="109908" y="2625488"/>
                  </a:cubicBezTo>
                  <a:cubicBezTo>
                    <a:pt x="109908" y="2625488"/>
                    <a:pt x="109908" y="2625488"/>
                    <a:pt x="109908" y="2846017"/>
                  </a:cubicBezTo>
                  <a:cubicBezTo>
                    <a:pt x="109908" y="2875818"/>
                    <a:pt x="85928" y="2899659"/>
                    <a:pt x="55953" y="2899659"/>
                  </a:cubicBezTo>
                  <a:cubicBezTo>
                    <a:pt x="25979" y="2899659"/>
                    <a:pt x="0" y="2875818"/>
                    <a:pt x="0" y="2846017"/>
                  </a:cubicBezTo>
                  <a:cubicBezTo>
                    <a:pt x="0" y="2846017"/>
                    <a:pt x="0" y="2846017"/>
                    <a:pt x="0" y="2625488"/>
                  </a:cubicBezTo>
                  <a:cubicBezTo>
                    <a:pt x="0" y="2595687"/>
                    <a:pt x="25979" y="2571846"/>
                    <a:pt x="55953" y="2571846"/>
                  </a:cubicBezTo>
                  <a:close/>
                  <a:moveTo>
                    <a:pt x="55953" y="0"/>
                  </a:moveTo>
                  <a:cubicBezTo>
                    <a:pt x="85928" y="0"/>
                    <a:pt x="109908" y="25804"/>
                    <a:pt x="109908" y="55579"/>
                  </a:cubicBezTo>
                  <a:cubicBezTo>
                    <a:pt x="109908" y="55579"/>
                    <a:pt x="109908" y="55579"/>
                    <a:pt x="109908" y="383097"/>
                  </a:cubicBezTo>
                  <a:cubicBezTo>
                    <a:pt x="109908" y="414856"/>
                    <a:pt x="85928" y="438676"/>
                    <a:pt x="55953" y="438676"/>
                  </a:cubicBezTo>
                  <a:cubicBezTo>
                    <a:pt x="25979" y="438676"/>
                    <a:pt x="0" y="414856"/>
                    <a:pt x="0" y="383097"/>
                  </a:cubicBezTo>
                  <a:cubicBezTo>
                    <a:pt x="0" y="383097"/>
                    <a:pt x="0" y="383097"/>
                    <a:pt x="0" y="55579"/>
                  </a:cubicBezTo>
                  <a:cubicBezTo>
                    <a:pt x="0" y="25804"/>
                    <a:pt x="25979" y="0"/>
                    <a:pt x="55953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19" name="CustomText1"/>
            <p:cNvSpPr txBox="1"/>
            <p:nvPr/>
          </p:nvSpPr>
          <p:spPr>
            <a:xfrm>
              <a:off x="3271793" y="4850023"/>
              <a:ext cx="2117631" cy="523220"/>
            </a:xfrm>
            <a:prstGeom prst="rect">
              <a:avLst/>
            </a:prstGeom>
            <a:noFill/>
          </p:spPr>
          <p:txBody>
            <a:bodyPr wrap="square" rtlCol="0">
              <a:normAutofit fontScale="92500"/>
            </a:bodyPr>
            <a:lstStyle/>
            <a:p>
              <a:r>
                <a:rPr lang="en-US" altLang="zh-CN" sz="2800" b="1" dirty="0">
                  <a:solidFill>
                    <a:schemeClr val="tx2"/>
                  </a:solidFill>
                </a:rPr>
                <a:t>TEXT HERE</a:t>
              </a:r>
              <a:endParaRPr lang="en-US" altLang="zh-CN" sz="2800" b="1" dirty="0">
                <a:solidFill>
                  <a:schemeClr val="tx2"/>
                </a:solidFill>
              </a:endParaRPr>
            </a:p>
          </p:txBody>
        </p:sp>
        <p:sp>
          <p:nvSpPr>
            <p:cNvPr id="20" name="CustomText2"/>
            <p:cNvSpPr/>
            <p:nvPr/>
          </p:nvSpPr>
          <p:spPr>
            <a:xfrm>
              <a:off x="3271793" y="5289205"/>
              <a:ext cx="2117631" cy="369332"/>
            </a:xfrm>
            <a:prstGeom prst="rect">
              <a:avLst/>
            </a:prstGeom>
          </p:spPr>
          <p:txBody>
            <a:bodyPr wrap="square">
              <a:normAutofit fontScale="85000" lnSpcReduction="10000"/>
            </a:bodyPr>
            <a:lstStyle/>
            <a:p>
              <a:r>
                <a:rPr lang="en-US" altLang="zh-CN" dirty="0">
                  <a:solidFill>
                    <a:schemeClr val="tx2"/>
                  </a:solidFill>
                </a:rPr>
                <a:t>Supporting text here</a:t>
              </a:r>
              <a:endParaRPr lang="en-US" altLang="zh-CN" dirty="0">
                <a:solidFill>
                  <a:schemeClr val="tx2"/>
                </a:solidFill>
              </a:endParaRPr>
            </a:p>
          </p:txBody>
        </p:sp>
        <p:sp>
          <p:nvSpPr>
            <p:cNvPr id="21" name="CustomText1"/>
            <p:cNvSpPr/>
            <p:nvPr/>
          </p:nvSpPr>
          <p:spPr>
            <a:xfrm>
              <a:off x="5499783" y="5047363"/>
              <a:ext cx="3787918" cy="529080"/>
            </a:xfrm>
            <a:prstGeom prst="rect">
              <a:avLst/>
            </a:prstGeom>
            <a:noFill/>
          </p:spPr>
          <p:txBody>
            <a:bodyPr wrap="none" lIns="0" tIns="0" rIns="0" bIns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285750" indent="-285750">
                <a:lnSpc>
                  <a:spcPct val="120000"/>
                </a:lnSpc>
                <a:buFont typeface="Wingdings" panose="05000000000000000000" pitchFamily="2" charset="2"/>
                <a:buChar char="p"/>
                <a:defRPr/>
              </a:pPr>
              <a:r>
                <a:rPr lang="en-US" altLang="zh-CN" sz="12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Supporting text here Supporting text  </a:t>
              </a:r>
              <a:endParaRPr lang="en-US" altLang="zh-CN" sz="12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pPr marL="285750" indent="-285750">
                <a:lnSpc>
                  <a:spcPct val="120000"/>
                </a:lnSpc>
                <a:buFont typeface="Wingdings" panose="05000000000000000000" pitchFamily="2" charset="2"/>
                <a:buChar char="p"/>
                <a:defRPr/>
              </a:pPr>
              <a:r>
                <a:rPr lang="en-US" altLang="zh-CN" sz="12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Supporting text here Supporting text here</a:t>
              </a:r>
              <a:endParaRPr lang="en-US" altLang="zh-CN" sz="12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sp>
        <p:nvSpPr>
          <p:cNvPr id="22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23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4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单元测试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d5a5c087-d9f9-495b-ba7a-c7af2b04e2e5" descr="QBEAAB+LCAAAAAAABADNVk2P2jAQ/S/u9kZRnJAvblBK1cN2kUC9VBzSxIC3+UCOI4FW/Pc6xpQJCdlkS8peEB77mTdv5nl4QQ80QEOEUQ898P2WiO/zyGN8Qr0186LHJCCh2JuxZEsYpyRFw58vCqQD0A8vzIg6tRfxRxrTKItkGA21viZC3g6EsCaDE+LTyAsndE25uFtEvqUzwnwSc3WQs4z0kFpYbl83NNty1WcPfWVJtpUZHHonYgbMhjMarwEzdRPS+h9RNXwA4OMkCYkXl/ErL0xJNd4E+M9JmLAy+nTUAkefVivqk8WGRESixNaCxnwUB/ONF5xUHDO63vCYpKkKPP16Jj4HsKElgPJKeTxLN+LyD9PpwHWn7lTwrCRt//9i2nofm4YzsNQnds7UdEDNaV9OCHeblPNIrAqOteblxLiLeprV9bSM8cB2YD0LtO/gTtvqu8CejmWcuRmQ2xsMWsA3cmixpAV8C4fiTiyKteqa4onpOhasqeC9FEdoHAiV4OuLoWNHwXOW8kjURZ08v9l7mQsjK9UgaOaJh51wwlK5U7oB7It6xwHZoaF4aOdcjAUlzidX5vUlDlRAt2VAqLAl3wU6J3pUUoYwWh7KQ+TM6epiCYoGn4EF2YFML1ronK+BDm11kHzTggYVWeW/f5Ok3MtOrK2feZ33sY0h7WN/oSkN8wk+8nPXigZOCVddd+rSv8G8hLCfCxsVKow9/3edCiZM/HIBVNBLT+zNVcgL1pEKr/VCYxVwe0PbdzK0XpOvDVO8XMB89faGdq4YukaH5oa+SVJGq1YWfy7enaPrZJB8a1ZQiUH3SnTs6lspYbY3Nr7XqDbqci5MsvIK5my1Nze+Nq7rxGhu71tlZrfr63c4s2uVKEyo8goq4XSvRMcO/zclloc/R5vYREARAAA="/>
          <p:cNvGrpSpPr>
            <a:grpSpLocks noChangeAspect="1"/>
          </p:cNvGrpSpPr>
          <p:nvPr/>
        </p:nvGrpSpPr>
        <p:grpSpPr>
          <a:xfrm>
            <a:off x="1081781" y="1055692"/>
            <a:ext cx="10028438" cy="4746617"/>
            <a:chOff x="1081781" y="1055692"/>
            <a:chExt cx="10028438" cy="4746617"/>
          </a:xfrm>
        </p:grpSpPr>
        <p:sp>
          <p:nvSpPr>
            <p:cNvPr id="3" name="ExtraShape1"/>
            <p:cNvSpPr/>
            <p:nvPr/>
          </p:nvSpPr>
          <p:spPr bwMode="auto">
            <a:xfrm>
              <a:off x="8152503" y="1985958"/>
              <a:ext cx="2782888" cy="896938"/>
            </a:xfrm>
            <a:custGeom>
              <a:avLst/>
              <a:gdLst>
                <a:gd name="T0" fmla="*/ 816 w 842"/>
                <a:gd name="T1" fmla="*/ 272 h 272"/>
                <a:gd name="T2" fmla="*/ 0 w 842"/>
                <a:gd name="T3" fmla="*/ 272 h 272"/>
                <a:gd name="T4" fmla="*/ 0 w 842"/>
                <a:gd name="T5" fmla="*/ 0 h 272"/>
                <a:gd name="T6" fmla="*/ 816 w 842"/>
                <a:gd name="T7" fmla="*/ 0 h 272"/>
                <a:gd name="T8" fmla="*/ 842 w 842"/>
                <a:gd name="T9" fmla="*/ 26 h 272"/>
                <a:gd name="T10" fmla="*/ 842 w 842"/>
                <a:gd name="T11" fmla="*/ 246 h 272"/>
                <a:gd name="T12" fmla="*/ 816 w 842"/>
                <a:gd name="T13" fmla="*/ 27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2" h="272">
                  <a:moveTo>
                    <a:pt x="816" y="272"/>
                  </a:moveTo>
                  <a:cubicBezTo>
                    <a:pt x="0" y="272"/>
                    <a:pt x="0" y="272"/>
                    <a:pt x="0" y="27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16" y="0"/>
                    <a:pt x="816" y="0"/>
                    <a:pt x="816" y="0"/>
                  </a:cubicBezTo>
                  <a:cubicBezTo>
                    <a:pt x="831" y="0"/>
                    <a:pt x="842" y="12"/>
                    <a:pt x="842" y="26"/>
                  </a:cubicBezTo>
                  <a:cubicBezTo>
                    <a:pt x="842" y="246"/>
                    <a:pt x="842" y="246"/>
                    <a:pt x="842" y="246"/>
                  </a:cubicBezTo>
                  <a:cubicBezTo>
                    <a:pt x="842" y="260"/>
                    <a:pt x="831" y="272"/>
                    <a:pt x="816" y="272"/>
                  </a:cubicBezTo>
                  <a:close/>
                </a:path>
              </a:pathLst>
            </a:custGeom>
            <a:solidFill>
              <a:srgbClr val="F0F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" name="ExtraShape2"/>
            <p:cNvSpPr/>
            <p:nvPr/>
          </p:nvSpPr>
          <p:spPr bwMode="auto">
            <a:xfrm>
              <a:off x="7984228" y="1985958"/>
              <a:ext cx="550863" cy="896938"/>
            </a:xfrm>
            <a:custGeom>
              <a:avLst/>
              <a:gdLst>
                <a:gd name="T0" fmla="*/ 225 w 347"/>
                <a:gd name="T1" fmla="*/ 482 h 565"/>
                <a:gd name="T2" fmla="*/ 347 w 347"/>
                <a:gd name="T3" fmla="*/ 482 h 565"/>
                <a:gd name="T4" fmla="*/ 347 w 347"/>
                <a:gd name="T5" fmla="*/ 565 h 565"/>
                <a:gd name="T6" fmla="*/ 0 w 347"/>
                <a:gd name="T7" fmla="*/ 565 h 565"/>
                <a:gd name="T8" fmla="*/ 0 w 347"/>
                <a:gd name="T9" fmla="*/ 482 h 565"/>
                <a:gd name="T10" fmla="*/ 123 w 347"/>
                <a:gd name="T11" fmla="*/ 482 h 565"/>
                <a:gd name="T12" fmla="*/ 123 w 347"/>
                <a:gd name="T13" fmla="*/ 116 h 565"/>
                <a:gd name="T14" fmla="*/ 8 w 347"/>
                <a:gd name="T15" fmla="*/ 96 h 565"/>
                <a:gd name="T16" fmla="*/ 164 w 347"/>
                <a:gd name="T17" fmla="*/ 0 h 565"/>
                <a:gd name="T18" fmla="*/ 225 w 347"/>
                <a:gd name="T19" fmla="*/ 0 h 565"/>
                <a:gd name="T20" fmla="*/ 225 w 347"/>
                <a:gd name="T21" fmla="*/ 482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7" h="565">
                  <a:moveTo>
                    <a:pt x="225" y="482"/>
                  </a:moveTo>
                  <a:lnTo>
                    <a:pt x="347" y="482"/>
                  </a:lnTo>
                  <a:lnTo>
                    <a:pt x="347" y="565"/>
                  </a:lnTo>
                  <a:lnTo>
                    <a:pt x="0" y="565"/>
                  </a:lnTo>
                  <a:lnTo>
                    <a:pt x="0" y="482"/>
                  </a:lnTo>
                  <a:lnTo>
                    <a:pt x="123" y="482"/>
                  </a:lnTo>
                  <a:lnTo>
                    <a:pt x="123" y="116"/>
                  </a:lnTo>
                  <a:lnTo>
                    <a:pt x="8" y="96"/>
                  </a:lnTo>
                  <a:lnTo>
                    <a:pt x="164" y="0"/>
                  </a:lnTo>
                  <a:lnTo>
                    <a:pt x="225" y="0"/>
                  </a:lnTo>
                  <a:lnTo>
                    <a:pt x="225" y="482"/>
                  </a:lnTo>
                  <a:close/>
                </a:path>
              </a:pathLst>
            </a:custGeom>
            <a:solidFill>
              <a:srgbClr val="D0D1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" name="ValueBack1"/>
            <p:cNvSpPr/>
            <p:nvPr/>
          </p:nvSpPr>
          <p:spPr bwMode="auto">
            <a:xfrm>
              <a:off x="7887390" y="1985958"/>
              <a:ext cx="555625" cy="896938"/>
            </a:xfrm>
            <a:custGeom>
              <a:avLst/>
              <a:gdLst>
                <a:gd name="T0" fmla="*/ 227 w 350"/>
                <a:gd name="T1" fmla="*/ 482 h 565"/>
                <a:gd name="T2" fmla="*/ 350 w 350"/>
                <a:gd name="T3" fmla="*/ 482 h 565"/>
                <a:gd name="T4" fmla="*/ 350 w 350"/>
                <a:gd name="T5" fmla="*/ 565 h 565"/>
                <a:gd name="T6" fmla="*/ 0 w 350"/>
                <a:gd name="T7" fmla="*/ 565 h 565"/>
                <a:gd name="T8" fmla="*/ 0 w 350"/>
                <a:gd name="T9" fmla="*/ 482 h 565"/>
                <a:gd name="T10" fmla="*/ 125 w 350"/>
                <a:gd name="T11" fmla="*/ 482 h 565"/>
                <a:gd name="T12" fmla="*/ 125 w 350"/>
                <a:gd name="T13" fmla="*/ 116 h 565"/>
                <a:gd name="T14" fmla="*/ 11 w 350"/>
                <a:gd name="T15" fmla="*/ 187 h 565"/>
                <a:gd name="T16" fmla="*/ 11 w 350"/>
                <a:gd name="T17" fmla="*/ 96 h 565"/>
                <a:gd name="T18" fmla="*/ 167 w 350"/>
                <a:gd name="T19" fmla="*/ 0 h 565"/>
                <a:gd name="T20" fmla="*/ 227 w 350"/>
                <a:gd name="T21" fmla="*/ 0 h 565"/>
                <a:gd name="T22" fmla="*/ 227 w 350"/>
                <a:gd name="T23" fmla="*/ 482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0" h="565">
                  <a:moveTo>
                    <a:pt x="227" y="482"/>
                  </a:moveTo>
                  <a:lnTo>
                    <a:pt x="350" y="482"/>
                  </a:lnTo>
                  <a:lnTo>
                    <a:pt x="350" y="565"/>
                  </a:lnTo>
                  <a:lnTo>
                    <a:pt x="0" y="565"/>
                  </a:lnTo>
                  <a:lnTo>
                    <a:pt x="0" y="482"/>
                  </a:lnTo>
                  <a:lnTo>
                    <a:pt x="125" y="482"/>
                  </a:lnTo>
                  <a:lnTo>
                    <a:pt x="125" y="116"/>
                  </a:lnTo>
                  <a:lnTo>
                    <a:pt x="11" y="187"/>
                  </a:lnTo>
                  <a:lnTo>
                    <a:pt x="11" y="96"/>
                  </a:lnTo>
                  <a:lnTo>
                    <a:pt x="167" y="0"/>
                  </a:lnTo>
                  <a:lnTo>
                    <a:pt x="227" y="0"/>
                  </a:lnTo>
                  <a:lnTo>
                    <a:pt x="227" y="482"/>
                  </a:ln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" name="ExtraShape1"/>
            <p:cNvSpPr/>
            <p:nvPr/>
          </p:nvSpPr>
          <p:spPr bwMode="auto">
            <a:xfrm>
              <a:off x="7969940" y="3243258"/>
              <a:ext cx="2965450" cy="906463"/>
            </a:xfrm>
            <a:custGeom>
              <a:avLst/>
              <a:gdLst>
                <a:gd name="T0" fmla="*/ 871 w 897"/>
                <a:gd name="T1" fmla="*/ 275 h 275"/>
                <a:gd name="T2" fmla="*/ 55 w 897"/>
                <a:gd name="T3" fmla="*/ 275 h 275"/>
                <a:gd name="T4" fmla="*/ 0 w 897"/>
                <a:gd name="T5" fmla="*/ 241 h 275"/>
                <a:gd name="T6" fmla="*/ 113 w 897"/>
                <a:gd name="T7" fmla="*/ 87 h 275"/>
                <a:gd name="T8" fmla="*/ 55 w 897"/>
                <a:gd name="T9" fmla="*/ 0 h 275"/>
                <a:gd name="T10" fmla="*/ 871 w 897"/>
                <a:gd name="T11" fmla="*/ 0 h 275"/>
                <a:gd name="T12" fmla="*/ 897 w 897"/>
                <a:gd name="T13" fmla="*/ 26 h 275"/>
                <a:gd name="T14" fmla="*/ 897 w 897"/>
                <a:gd name="T15" fmla="*/ 249 h 275"/>
                <a:gd name="T16" fmla="*/ 871 w 897"/>
                <a:gd name="T17" fmla="*/ 27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7" h="275">
                  <a:moveTo>
                    <a:pt x="871" y="275"/>
                  </a:moveTo>
                  <a:cubicBezTo>
                    <a:pt x="55" y="275"/>
                    <a:pt x="55" y="275"/>
                    <a:pt x="55" y="275"/>
                  </a:cubicBezTo>
                  <a:cubicBezTo>
                    <a:pt x="0" y="241"/>
                    <a:pt x="0" y="241"/>
                    <a:pt x="0" y="241"/>
                  </a:cubicBezTo>
                  <a:cubicBezTo>
                    <a:pt x="113" y="87"/>
                    <a:pt x="113" y="87"/>
                    <a:pt x="113" y="87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871" y="0"/>
                    <a:pt x="871" y="0"/>
                    <a:pt x="871" y="0"/>
                  </a:cubicBezTo>
                  <a:cubicBezTo>
                    <a:pt x="886" y="0"/>
                    <a:pt x="897" y="12"/>
                    <a:pt x="897" y="26"/>
                  </a:cubicBezTo>
                  <a:cubicBezTo>
                    <a:pt x="897" y="249"/>
                    <a:pt x="897" y="249"/>
                    <a:pt x="897" y="249"/>
                  </a:cubicBezTo>
                  <a:cubicBezTo>
                    <a:pt x="897" y="263"/>
                    <a:pt x="886" y="275"/>
                    <a:pt x="871" y="275"/>
                  </a:cubicBezTo>
                  <a:close/>
                </a:path>
              </a:pathLst>
            </a:custGeom>
            <a:solidFill>
              <a:srgbClr val="F0F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" name="ExtraShape2"/>
            <p:cNvSpPr/>
            <p:nvPr/>
          </p:nvSpPr>
          <p:spPr bwMode="auto">
            <a:xfrm>
              <a:off x="7908028" y="3243258"/>
              <a:ext cx="627063" cy="906463"/>
            </a:xfrm>
            <a:custGeom>
              <a:avLst/>
              <a:gdLst>
                <a:gd name="T0" fmla="*/ 190 w 190"/>
                <a:gd name="T1" fmla="*/ 235 h 275"/>
                <a:gd name="T2" fmla="*/ 190 w 190"/>
                <a:gd name="T3" fmla="*/ 275 h 275"/>
                <a:gd name="T4" fmla="*/ 8 w 190"/>
                <a:gd name="T5" fmla="*/ 275 h 275"/>
                <a:gd name="T6" fmla="*/ 8 w 190"/>
                <a:gd name="T7" fmla="*/ 239 h 275"/>
                <a:gd name="T8" fmla="*/ 100 w 190"/>
                <a:gd name="T9" fmla="*/ 139 h 275"/>
                <a:gd name="T10" fmla="*/ 124 w 190"/>
                <a:gd name="T11" fmla="*/ 106 h 275"/>
                <a:gd name="T12" fmla="*/ 132 w 190"/>
                <a:gd name="T13" fmla="*/ 77 h 275"/>
                <a:gd name="T14" fmla="*/ 121 w 190"/>
                <a:gd name="T15" fmla="*/ 48 h 275"/>
                <a:gd name="T16" fmla="*/ 95 w 190"/>
                <a:gd name="T17" fmla="*/ 23 h 275"/>
                <a:gd name="T18" fmla="*/ 0 w 190"/>
                <a:gd name="T19" fmla="*/ 31 h 275"/>
                <a:gd name="T20" fmla="*/ 41 w 190"/>
                <a:gd name="T21" fmla="*/ 8 h 275"/>
                <a:gd name="T22" fmla="*/ 92 w 190"/>
                <a:gd name="T23" fmla="*/ 0 h 275"/>
                <a:gd name="T24" fmla="*/ 157 w 190"/>
                <a:gd name="T25" fmla="*/ 20 h 275"/>
                <a:gd name="T26" fmla="*/ 180 w 190"/>
                <a:gd name="T27" fmla="*/ 74 h 275"/>
                <a:gd name="T28" fmla="*/ 170 w 190"/>
                <a:gd name="T29" fmla="*/ 118 h 275"/>
                <a:gd name="T30" fmla="*/ 136 w 190"/>
                <a:gd name="T31" fmla="*/ 164 h 275"/>
                <a:gd name="T32" fmla="*/ 70 w 190"/>
                <a:gd name="T33" fmla="*/ 235 h 275"/>
                <a:gd name="T34" fmla="*/ 190 w 190"/>
                <a:gd name="T35" fmla="*/ 23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0" h="275">
                  <a:moveTo>
                    <a:pt x="190" y="235"/>
                  </a:moveTo>
                  <a:cubicBezTo>
                    <a:pt x="190" y="275"/>
                    <a:pt x="190" y="275"/>
                    <a:pt x="190" y="275"/>
                  </a:cubicBezTo>
                  <a:cubicBezTo>
                    <a:pt x="8" y="275"/>
                    <a:pt x="8" y="275"/>
                    <a:pt x="8" y="275"/>
                  </a:cubicBezTo>
                  <a:cubicBezTo>
                    <a:pt x="8" y="239"/>
                    <a:pt x="8" y="239"/>
                    <a:pt x="8" y="239"/>
                  </a:cubicBezTo>
                  <a:cubicBezTo>
                    <a:pt x="100" y="139"/>
                    <a:pt x="100" y="139"/>
                    <a:pt x="100" y="139"/>
                  </a:cubicBezTo>
                  <a:cubicBezTo>
                    <a:pt x="111" y="127"/>
                    <a:pt x="119" y="116"/>
                    <a:pt x="124" y="106"/>
                  </a:cubicBezTo>
                  <a:cubicBezTo>
                    <a:pt x="129" y="96"/>
                    <a:pt x="132" y="86"/>
                    <a:pt x="132" y="77"/>
                  </a:cubicBezTo>
                  <a:cubicBezTo>
                    <a:pt x="132" y="64"/>
                    <a:pt x="128" y="55"/>
                    <a:pt x="121" y="48"/>
                  </a:cubicBezTo>
                  <a:cubicBezTo>
                    <a:pt x="114" y="42"/>
                    <a:pt x="108" y="23"/>
                    <a:pt x="95" y="23"/>
                  </a:cubicBezTo>
                  <a:cubicBezTo>
                    <a:pt x="71" y="23"/>
                    <a:pt x="0" y="31"/>
                    <a:pt x="0" y="31"/>
                  </a:cubicBezTo>
                  <a:cubicBezTo>
                    <a:pt x="10" y="22"/>
                    <a:pt x="24" y="14"/>
                    <a:pt x="41" y="8"/>
                  </a:cubicBezTo>
                  <a:cubicBezTo>
                    <a:pt x="58" y="2"/>
                    <a:pt x="75" y="0"/>
                    <a:pt x="92" y="0"/>
                  </a:cubicBezTo>
                  <a:cubicBezTo>
                    <a:pt x="119" y="0"/>
                    <a:pt x="141" y="6"/>
                    <a:pt x="157" y="20"/>
                  </a:cubicBezTo>
                  <a:cubicBezTo>
                    <a:pt x="172" y="33"/>
                    <a:pt x="180" y="51"/>
                    <a:pt x="180" y="74"/>
                  </a:cubicBezTo>
                  <a:cubicBezTo>
                    <a:pt x="180" y="89"/>
                    <a:pt x="177" y="104"/>
                    <a:pt x="170" y="118"/>
                  </a:cubicBezTo>
                  <a:cubicBezTo>
                    <a:pt x="164" y="131"/>
                    <a:pt x="152" y="147"/>
                    <a:pt x="136" y="164"/>
                  </a:cubicBezTo>
                  <a:cubicBezTo>
                    <a:pt x="70" y="235"/>
                    <a:pt x="70" y="235"/>
                    <a:pt x="70" y="235"/>
                  </a:cubicBezTo>
                  <a:lnTo>
                    <a:pt x="190" y="235"/>
                  </a:lnTo>
                  <a:close/>
                </a:path>
              </a:pathLst>
            </a:custGeom>
            <a:solidFill>
              <a:srgbClr val="D0D1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" name="ValueBack2"/>
            <p:cNvSpPr/>
            <p:nvPr/>
          </p:nvSpPr>
          <p:spPr bwMode="auto">
            <a:xfrm>
              <a:off x="7811190" y="3243258"/>
              <a:ext cx="631825" cy="906463"/>
            </a:xfrm>
            <a:custGeom>
              <a:avLst/>
              <a:gdLst>
                <a:gd name="T0" fmla="*/ 191 w 191"/>
                <a:gd name="T1" fmla="*/ 235 h 275"/>
                <a:gd name="T2" fmla="*/ 191 w 191"/>
                <a:gd name="T3" fmla="*/ 275 h 275"/>
                <a:gd name="T4" fmla="*/ 8 w 191"/>
                <a:gd name="T5" fmla="*/ 275 h 275"/>
                <a:gd name="T6" fmla="*/ 8 w 191"/>
                <a:gd name="T7" fmla="*/ 239 h 275"/>
                <a:gd name="T8" fmla="*/ 100 w 191"/>
                <a:gd name="T9" fmla="*/ 139 h 275"/>
                <a:gd name="T10" fmla="*/ 124 w 191"/>
                <a:gd name="T11" fmla="*/ 106 h 275"/>
                <a:gd name="T12" fmla="*/ 132 w 191"/>
                <a:gd name="T13" fmla="*/ 77 h 275"/>
                <a:gd name="T14" fmla="*/ 121 w 191"/>
                <a:gd name="T15" fmla="*/ 48 h 275"/>
                <a:gd name="T16" fmla="*/ 90 w 191"/>
                <a:gd name="T17" fmla="*/ 39 h 275"/>
                <a:gd name="T18" fmla="*/ 16 w 191"/>
                <a:gd name="T19" fmla="*/ 67 h 275"/>
                <a:gd name="T20" fmla="*/ 0 w 191"/>
                <a:gd name="T21" fmla="*/ 31 h 275"/>
                <a:gd name="T22" fmla="*/ 41 w 191"/>
                <a:gd name="T23" fmla="*/ 8 h 275"/>
                <a:gd name="T24" fmla="*/ 92 w 191"/>
                <a:gd name="T25" fmla="*/ 0 h 275"/>
                <a:gd name="T26" fmla="*/ 157 w 191"/>
                <a:gd name="T27" fmla="*/ 20 h 275"/>
                <a:gd name="T28" fmla="*/ 181 w 191"/>
                <a:gd name="T29" fmla="*/ 74 h 275"/>
                <a:gd name="T30" fmla="*/ 170 w 191"/>
                <a:gd name="T31" fmla="*/ 118 h 275"/>
                <a:gd name="T32" fmla="*/ 137 w 191"/>
                <a:gd name="T33" fmla="*/ 164 h 275"/>
                <a:gd name="T34" fmla="*/ 70 w 191"/>
                <a:gd name="T35" fmla="*/ 235 h 275"/>
                <a:gd name="T36" fmla="*/ 191 w 191"/>
                <a:gd name="T37" fmla="*/ 23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1" h="275">
                  <a:moveTo>
                    <a:pt x="191" y="235"/>
                  </a:moveTo>
                  <a:cubicBezTo>
                    <a:pt x="191" y="275"/>
                    <a:pt x="191" y="275"/>
                    <a:pt x="191" y="275"/>
                  </a:cubicBezTo>
                  <a:cubicBezTo>
                    <a:pt x="8" y="275"/>
                    <a:pt x="8" y="275"/>
                    <a:pt x="8" y="275"/>
                  </a:cubicBezTo>
                  <a:cubicBezTo>
                    <a:pt x="8" y="239"/>
                    <a:pt x="8" y="239"/>
                    <a:pt x="8" y="239"/>
                  </a:cubicBezTo>
                  <a:cubicBezTo>
                    <a:pt x="100" y="139"/>
                    <a:pt x="100" y="139"/>
                    <a:pt x="100" y="139"/>
                  </a:cubicBezTo>
                  <a:cubicBezTo>
                    <a:pt x="111" y="127"/>
                    <a:pt x="119" y="116"/>
                    <a:pt x="124" y="106"/>
                  </a:cubicBezTo>
                  <a:cubicBezTo>
                    <a:pt x="129" y="96"/>
                    <a:pt x="132" y="86"/>
                    <a:pt x="132" y="77"/>
                  </a:cubicBezTo>
                  <a:cubicBezTo>
                    <a:pt x="132" y="64"/>
                    <a:pt x="128" y="55"/>
                    <a:pt x="121" y="48"/>
                  </a:cubicBezTo>
                  <a:cubicBezTo>
                    <a:pt x="114" y="42"/>
                    <a:pt x="103" y="39"/>
                    <a:pt x="90" y="39"/>
                  </a:cubicBezTo>
                  <a:cubicBezTo>
                    <a:pt x="66" y="39"/>
                    <a:pt x="41" y="48"/>
                    <a:pt x="16" y="67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0" y="22"/>
                    <a:pt x="24" y="14"/>
                    <a:pt x="41" y="8"/>
                  </a:cubicBezTo>
                  <a:cubicBezTo>
                    <a:pt x="58" y="2"/>
                    <a:pt x="75" y="0"/>
                    <a:pt x="92" y="0"/>
                  </a:cubicBezTo>
                  <a:cubicBezTo>
                    <a:pt x="119" y="0"/>
                    <a:pt x="141" y="6"/>
                    <a:pt x="157" y="20"/>
                  </a:cubicBezTo>
                  <a:cubicBezTo>
                    <a:pt x="173" y="33"/>
                    <a:pt x="181" y="51"/>
                    <a:pt x="181" y="74"/>
                  </a:cubicBezTo>
                  <a:cubicBezTo>
                    <a:pt x="181" y="89"/>
                    <a:pt x="177" y="104"/>
                    <a:pt x="170" y="118"/>
                  </a:cubicBezTo>
                  <a:cubicBezTo>
                    <a:pt x="164" y="131"/>
                    <a:pt x="152" y="147"/>
                    <a:pt x="137" y="164"/>
                  </a:cubicBezTo>
                  <a:cubicBezTo>
                    <a:pt x="70" y="235"/>
                    <a:pt x="70" y="235"/>
                    <a:pt x="70" y="235"/>
                  </a:cubicBezTo>
                  <a:lnTo>
                    <a:pt x="191" y="235"/>
                  </a:lnTo>
                  <a:close/>
                </a:path>
              </a:pathLst>
            </a:custGeom>
            <a:solidFill>
              <a:schemeClr val="accent1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" name="ExtraShape1"/>
            <p:cNvSpPr/>
            <p:nvPr/>
          </p:nvSpPr>
          <p:spPr bwMode="auto">
            <a:xfrm>
              <a:off x="8152503" y="4510083"/>
              <a:ext cx="2782888" cy="917575"/>
            </a:xfrm>
            <a:custGeom>
              <a:avLst/>
              <a:gdLst>
                <a:gd name="T0" fmla="*/ 816 w 842"/>
                <a:gd name="T1" fmla="*/ 278 h 278"/>
                <a:gd name="T2" fmla="*/ 0 w 842"/>
                <a:gd name="T3" fmla="*/ 278 h 278"/>
                <a:gd name="T4" fmla="*/ 63 w 842"/>
                <a:gd name="T5" fmla="*/ 223 h 278"/>
                <a:gd name="T6" fmla="*/ 14 w 842"/>
                <a:gd name="T7" fmla="*/ 139 h 278"/>
                <a:gd name="T8" fmla="*/ 48 w 842"/>
                <a:gd name="T9" fmla="*/ 79 h 278"/>
                <a:gd name="T10" fmla="*/ 0 w 842"/>
                <a:gd name="T11" fmla="*/ 0 h 278"/>
                <a:gd name="T12" fmla="*/ 816 w 842"/>
                <a:gd name="T13" fmla="*/ 0 h 278"/>
                <a:gd name="T14" fmla="*/ 842 w 842"/>
                <a:gd name="T15" fmla="*/ 26 h 278"/>
                <a:gd name="T16" fmla="*/ 842 w 842"/>
                <a:gd name="T17" fmla="*/ 252 h 278"/>
                <a:gd name="T18" fmla="*/ 816 w 842"/>
                <a:gd name="T19" fmla="*/ 278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2" h="278">
                  <a:moveTo>
                    <a:pt x="816" y="278"/>
                  </a:moveTo>
                  <a:cubicBezTo>
                    <a:pt x="0" y="278"/>
                    <a:pt x="0" y="278"/>
                    <a:pt x="0" y="278"/>
                  </a:cubicBezTo>
                  <a:cubicBezTo>
                    <a:pt x="63" y="223"/>
                    <a:pt x="63" y="223"/>
                    <a:pt x="63" y="223"/>
                  </a:cubicBezTo>
                  <a:cubicBezTo>
                    <a:pt x="14" y="139"/>
                    <a:pt x="14" y="139"/>
                    <a:pt x="14" y="139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16" y="0"/>
                    <a:pt x="816" y="0"/>
                    <a:pt x="816" y="0"/>
                  </a:cubicBezTo>
                  <a:cubicBezTo>
                    <a:pt x="831" y="0"/>
                    <a:pt x="842" y="12"/>
                    <a:pt x="842" y="26"/>
                  </a:cubicBezTo>
                  <a:cubicBezTo>
                    <a:pt x="842" y="252"/>
                    <a:pt x="842" y="252"/>
                    <a:pt x="842" y="252"/>
                  </a:cubicBezTo>
                  <a:cubicBezTo>
                    <a:pt x="842" y="266"/>
                    <a:pt x="831" y="278"/>
                    <a:pt x="816" y="278"/>
                  </a:cubicBezTo>
                  <a:close/>
                </a:path>
              </a:pathLst>
            </a:custGeom>
            <a:solidFill>
              <a:srgbClr val="F0F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" name="ExtraShape2"/>
            <p:cNvSpPr/>
            <p:nvPr/>
          </p:nvSpPr>
          <p:spPr bwMode="auto">
            <a:xfrm>
              <a:off x="7904853" y="4510083"/>
              <a:ext cx="633413" cy="917575"/>
            </a:xfrm>
            <a:custGeom>
              <a:avLst/>
              <a:gdLst>
                <a:gd name="T0" fmla="*/ 179 w 192"/>
                <a:gd name="T1" fmla="*/ 159 h 278"/>
                <a:gd name="T2" fmla="*/ 192 w 192"/>
                <a:gd name="T3" fmla="*/ 202 h 278"/>
                <a:gd name="T4" fmla="*/ 166 w 192"/>
                <a:gd name="T5" fmla="*/ 258 h 278"/>
                <a:gd name="T6" fmla="*/ 95 w 192"/>
                <a:gd name="T7" fmla="*/ 278 h 278"/>
                <a:gd name="T8" fmla="*/ 42 w 192"/>
                <a:gd name="T9" fmla="*/ 270 h 278"/>
                <a:gd name="T10" fmla="*/ 0 w 192"/>
                <a:gd name="T11" fmla="*/ 247 h 278"/>
                <a:gd name="T12" fmla="*/ 93 w 192"/>
                <a:gd name="T13" fmla="*/ 250 h 278"/>
                <a:gd name="T14" fmla="*/ 132 w 192"/>
                <a:gd name="T15" fmla="*/ 229 h 278"/>
                <a:gd name="T16" fmla="*/ 145 w 192"/>
                <a:gd name="T17" fmla="*/ 197 h 278"/>
                <a:gd name="T18" fmla="*/ 132 w 192"/>
                <a:gd name="T19" fmla="*/ 167 h 278"/>
                <a:gd name="T20" fmla="*/ 92 w 192"/>
                <a:gd name="T21" fmla="*/ 157 h 278"/>
                <a:gd name="T22" fmla="*/ 56 w 192"/>
                <a:gd name="T23" fmla="*/ 157 h 278"/>
                <a:gd name="T24" fmla="*/ 56 w 192"/>
                <a:gd name="T25" fmla="*/ 118 h 278"/>
                <a:gd name="T26" fmla="*/ 85 w 192"/>
                <a:gd name="T27" fmla="*/ 118 h 278"/>
                <a:gd name="T28" fmla="*/ 138 w 192"/>
                <a:gd name="T29" fmla="*/ 78 h 278"/>
                <a:gd name="T30" fmla="*/ 126 w 192"/>
                <a:gd name="T31" fmla="*/ 49 h 278"/>
                <a:gd name="T32" fmla="*/ 94 w 192"/>
                <a:gd name="T33" fmla="*/ 28 h 278"/>
                <a:gd name="T34" fmla="*/ 4 w 192"/>
                <a:gd name="T35" fmla="*/ 31 h 278"/>
                <a:gd name="T36" fmla="*/ 46 w 192"/>
                <a:gd name="T37" fmla="*/ 8 h 278"/>
                <a:gd name="T38" fmla="*/ 97 w 192"/>
                <a:gd name="T39" fmla="*/ 0 h 278"/>
                <a:gd name="T40" fmla="*/ 161 w 192"/>
                <a:gd name="T41" fmla="*/ 19 h 278"/>
                <a:gd name="T42" fmla="*/ 185 w 192"/>
                <a:gd name="T43" fmla="*/ 72 h 278"/>
                <a:gd name="T44" fmla="*/ 174 w 192"/>
                <a:gd name="T45" fmla="*/ 111 h 278"/>
                <a:gd name="T46" fmla="*/ 142 w 192"/>
                <a:gd name="T47" fmla="*/ 135 h 278"/>
                <a:gd name="T48" fmla="*/ 179 w 192"/>
                <a:gd name="T49" fmla="*/ 159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2" h="278">
                  <a:moveTo>
                    <a:pt x="179" y="159"/>
                  </a:moveTo>
                  <a:cubicBezTo>
                    <a:pt x="188" y="171"/>
                    <a:pt x="192" y="185"/>
                    <a:pt x="192" y="202"/>
                  </a:cubicBezTo>
                  <a:cubicBezTo>
                    <a:pt x="192" y="225"/>
                    <a:pt x="183" y="244"/>
                    <a:pt x="166" y="258"/>
                  </a:cubicBezTo>
                  <a:cubicBezTo>
                    <a:pt x="148" y="272"/>
                    <a:pt x="125" y="278"/>
                    <a:pt x="95" y="278"/>
                  </a:cubicBezTo>
                  <a:cubicBezTo>
                    <a:pt x="77" y="278"/>
                    <a:pt x="59" y="276"/>
                    <a:pt x="42" y="270"/>
                  </a:cubicBezTo>
                  <a:cubicBezTo>
                    <a:pt x="25" y="264"/>
                    <a:pt x="11" y="257"/>
                    <a:pt x="0" y="247"/>
                  </a:cubicBezTo>
                  <a:cubicBezTo>
                    <a:pt x="0" y="247"/>
                    <a:pt x="67" y="250"/>
                    <a:pt x="93" y="250"/>
                  </a:cubicBezTo>
                  <a:cubicBezTo>
                    <a:pt x="110" y="250"/>
                    <a:pt x="123" y="236"/>
                    <a:pt x="132" y="229"/>
                  </a:cubicBezTo>
                  <a:cubicBezTo>
                    <a:pt x="140" y="222"/>
                    <a:pt x="145" y="211"/>
                    <a:pt x="145" y="197"/>
                  </a:cubicBezTo>
                  <a:cubicBezTo>
                    <a:pt x="145" y="184"/>
                    <a:pt x="140" y="173"/>
                    <a:pt x="132" y="167"/>
                  </a:cubicBezTo>
                  <a:cubicBezTo>
                    <a:pt x="123" y="160"/>
                    <a:pt x="110" y="157"/>
                    <a:pt x="92" y="157"/>
                  </a:cubicBezTo>
                  <a:cubicBezTo>
                    <a:pt x="56" y="157"/>
                    <a:pt x="56" y="157"/>
                    <a:pt x="56" y="157"/>
                  </a:cubicBezTo>
                  <a:cubicBezTo>
                    <a:pt x="56" y="118"/>
                    <a:pt x="56" y="118"/>
                    <a:pt x="56" y="118"/>
                  </a:cubicBezTo>
                  <a:cubicBezTo>
                    <a:pt x="85" y="118"/>
                    <a:pt x="85" y="118"/>
                    <a:pt x="85" y="118"/>
                  </a:cubicBezTo>
                  <a:cubicBezTo>
                    <a:pt x="120" y="118"/>
                    <a:pt x="138" y="104"/>
                    <a:pt x="138" y="78"/>
                  </a:cubicBezTo>
                  <a:cubicBezTo>
                    <a:pt x="138" y="65"/>
                    <a:pt x="134" y="56"/>
                    <a:pt x="126" y="49"/>
                  </a:cubicBezTo>
                  <a:cubicBezTo>
                    <a:pt x="119" y="42"/>
                    <a:pt x="108" y="28"/>
                    <a:pt x="94" y="28"/>
                  </a:cubicBezTo>
                  <a:cubicBezTo>
                    <a:pt x="70" y="28"/>
                    <a:pt x="4" y="31"/>
                    <a:pt x="4" y="31"/>
                  </a:cubicBezTo>
                  <a:cubicBezTo>
                    <a:pt x="15" y="22"/>
                    <a:pt x="29" y="14"/>
                    <a:pt x="46" y="8"/>
                  </a:cubicBezTo>
                  <a:cubicBezTo>
                    <a:pt x="63" y="2"/>
                    <a:pt x="80" y="0"/>
                    <a:pt x="97" y="0"/>
                  </a:cubicBezTo>
                  <a:cubicBezTo>
                    <a:pt x="124" y="0"/>
                    <a:pt x="145" y="6"/>
                    <a:pt x="161" y="19"/>
                  </a:cubicBezTo>
                  <a:cubicBezTo>
                    <a:pt x="177" y="32"/>
                    <a:pt x="185" y="50"/>
                    <a:pt x="185" y="72"/>
                  </a:cubicBezTo>
                  <a:cubicBezTo>
                    <a:pt x="185" y="87"/>
                    <a:pt x="181" y="100"/>
                    <a:pt x="174" y="111"/>
                  </a:cubicBezTo>
                  <a:cubicBezTo>
                    <a:pt x="166" y="122"/>
                    <a:pt x="156" y="130"/>
                    <a:pt x="142" y="135"/>
                  </a:cubicBezTo>
                  <a:cubicBezTo>
                    <a:pt x="158" y="140"/>
                    <a:pt x="170" y="148"/>
                    <a:pt x="179" y="159"/>
                  </a:cubicBezTo>
                  <a:close/>
                </a:path>
              </a:pathLst>
            </a:custGeom>
            <a:solidFill>
              <a:srgbClr val="D0D1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" name="ValueBack3"/>
            <p:cNvSpPr/>
            <p:nvPr/>
          </p:nvSpPr>
          <p:spPr bwMode="auto">
            <a:xfrm>
              <a:off x="7795315" y="4510083"/>
              <a:ext cx="635000" cy="917575"/>
            </a:xfrm>
            <a:custGeom>
              <a:avLst/>
              <a:gdLst>
                <a:gd name="T0" fmla="*/ 179 w 192"/>
                <a:gd name="T1" fmla="*/ 159 h 278"/>
                <a:gd name="T2" fmla="*/ 192 w 192"/>
                <a:gd name="T3" fmla="*/ 202 h 278"/>
                <a:gd name="T4" fmla="*/ 166 w 192"/>
                <a:gd name="T5" fmla="*/ 258 h 278"/>
                <a:gd name="T6" fmla="*/ 95 w 192"/>
                <a:gd name="T7" fmla="*/ 278 h 278"/>
                <a:gd name="T8" fmla="*/ 42 w 192"/>
                <a:gd name="T9" fmla="*/ 270 h 278"/>
                <a:gd name="T10" fmla="*/ 0 w 192"/>
                <a:gd name="T11" fmla="*/ 247 h 278"/>
                <a:gd name="T12" fmla="*/ 17 w 192"/>
                <a:gd name="T13" fmla="*/ 211 h 278"/>
                <a:gd name="T14" fmla="*/ 93 w 192"/>
                <a:gd name="T15" fmla="*/ 239 h 278"/>
                <a:gd name="T16" fmla="*/ 132 w 192"/>
                <a:gd name="T17" fmla="*/ 229 h 278"/>
                <a:gd name="T18" fmla="*/ 145 w 192"/>
                <a:gd name="T19" fmla="*/ 197 h 278"/>
                <a:gd name="T20" fmla="*/ 132 w 192"/>
                <a:gd name="T21" fmla="*/ 167 h 278"/>
                <a:gd name="T22" fmla="*/ 92 w 192"/>
                <a:gd name="T23" fmla="*/ 157 h 278"/>
                <a:gd name="T24" fmla="*/ 56 w 192"/>
                <a:gd name="T25" fmla="*/ 157 h 278"/>
                <a:gd name="T26" fmla="*/ 56 w 192"/>
                <a:gd name="T27" fmla="*/ 118 h 278"/>
                <a:gd name="T28" fmla="*/ 85 w 192"/>
                <a:gd name="T29" fmla="*/ 118 h 278"/>
                <a:gd name="T30" fmla="*/ 138 w 192"/>
                <a:gd name="T31" fmla="*/ 78 h 278"/>
                <a:gd name="T32" fmla="*/ 127 w 192"/>
                <a:gd name="T33" fmla="*/ 49 h 278"/>
                <a:gd name="T34" fmla="*/ 95 w 192"/>
                <a:gd name="T35" fmla="*/ 39 h 278"/>
                <a:gd name="T36" fmla="*/ 21 w 192"/>
                <a:gd name="T37" fmla="*/ 67 h 278"/>
                <a:gd name="T38" fmla="*/ 5 w 192"/>
                <a:gd name="T39" fmla="*/ 31 h 278"/>
                <a:gd name="T40" fmla="*/ 46 w 192"/>
                <a:gd name="T41" fmla="*/ 8 h 278"/>
                <a:gd name="T42" fmla="*/ 98 w 192"/>
                <a:gd name="T43" fmla="*/ 0 h 278"/>
                <a:gd name="T44" fmla="*/ 162 w 192"/>
                <a:gd name="T45" fmla="*/ 19 h 278"/>
                <a:gd name="T46" fmla="*/ 186 w 192"/>
                <a:gd name="T47" fmla="*/ 72 h 278"/>
                <a:gd name="T48" fmla="*/ 174 w 192"/>
                <a:gd name="T49" fmla="*/ 111 h 278"/>
                <a:gd name="T50" fmla="*/ 142 w 192"/>
                <a:gd name="T51" fmla="*/ 135 h 278"/>
                <a:gd name="T52" fmla="*/ 179 w 192"/>
                <a:gd name="T53" fmla="*/ 159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2" h="278">
                  <a:moveTo>
                    <a:pt x="179" y="159"/>
                  </a:moveTo>
                  <a:cubicBezTo>
                    <a:pt x="188" y="171"/>
                    <a:pt x="192" y="185"/>
                    <a:pt x="192" y="202"/>
                  </a:cubicBezTo>
                  <a:cubicBezTo>
                    <a:pt x="192" y="225"/>
                    <a:pt x="183" y="244"/>
                    <a:pt x="166" y="258"/>
                  </a:cubicBezTo>
                  <a:cubicBezTo>
                    <a:pt x="148" y="272"/>
                    <a:pt x="125" y="278"/>
                    <a:pt x="95" y="278"/>
                  </a:cubicBezTo>
                  <a:cubicBezTo>
                    <a:pt x="77" y="278"/>
                    <a:pt x="59" y="276"/>
                    <a:pt x="42" y="270"/>
                  </a:cubicBezTo>
                  <a:cubicBezTo>
                    <a:pt x="25" y="264"/>
                    <a:pt x="11" y="257"/>
                    <a:pt x="0" y="247"/>
                  </a:cubicBezTo>
                  <a:cubicBezTo>
                    <a:pt x="17" y="211"/>
                    <a:pt x="17" y="211"/>
                    <a:pt x="17" y="211"/>
                  </a:cubicBezTo>
                  <a:cubicBezTo>
                    <a:pt x="41" y="230"/>
                    <a:pt x="67" y="239"/>
                    <a:pt x="93" y="239"/>
                  </a:cubicBezTo>
                  <a:cubicBezTo>
                    <a:pt x="111" y="239"/>
                    <a:pt x="124" y="236"/>
                    <a:pt x="132" y="229"/>
                  </a:cubicBezTo>
                  <a:cubicBezTo>
                    <a:pt x="141" y="222"/>
                    <a:pt x="145" y="211"/>
                    <a:pt x="145" y="197"/>
                  </a:cubicBezTo>
                  <a:cubicBezTo>
                    <a:pt x="145" y="184"/>
                    <a:pt x="141" y="173"/>
                    <a:pt x="132" y="167"/>
                  </a:cubicBezTo>
                  <a:cubicBezTo>
                    <a:pt x="123" y="160"/>
                    <a:pt x="110" y="157"/>
                    <a:pt x="92" y="157"/>
                  </a:cubicBezTo>
                  <a:cubicBezTo>
                    <a:pt x="56" y="157"/>
                    <a:pt x="56" y="157"/>
                    <a:pt x="56" y="157"/>
                  </a:cubicBezTo>
                  <a:cubicBezTo>
                    <a:pt x="56" y="118"/>
                    <a:pt x="56" y="118"/>
                    <a:pt x="56" y="118"/>
                  </a:cubicBezTo>
                  <a:cubicBezTo>
                    <a:pt x="85" y="118"/>
                    <a:pt x="85" y="118"/>
                    <a:pt x="85" y="118"/>
                  </a:cubicBezTo>
                  <a:cubicBezTo>
                    <a:pt x="121" y="118"/>
                    <a:pt x="138" y="104"/>
                    <a:pt x="138" y="78"/>
                  </a:cubicBezTo>
                  <a:cubicBezTo>
                    <a:pt x="138" y="65"/>
                    <a:pt x="134" y="56"/>
                    <a:pt x="127" y="49"/>
                  </a:cubicBezTo>
                  <a:cubicBezTo>
                    <a:pt x="119" y="42"/>
                    <a:pt x="108" y="39"/>
                    <a:pt x="95" y="39"/>
                  </a:cubicBezTo>
                  <a:cubicBezTo>
                    <a:pt x="70" y="39"/>
                    <a:pt x="46" y="48"/>
                    <a:pt x="21" y="67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16" y="22"/>
                    <a:pt x="29" y="14"/>
                    <a:pt x="46" y="8"/>
                  </a:cubicBezTo>
                  <a:cubicBezTo>
                    <a:pt x="63" y="2"/>
                    <a:pt x="80" y="0"/>
                    <a:pt x="98" y="0"/>
                  </a:cubicBezTo>
                  <a:cubicBezTo>
                    <a:pt x="124" y="0"/>
                    <a:pt x="146" y="6"/>
                    <a:pt x="162" y="19"/>
                  </a:cubicBezTo>
                  <a:cubicBezTo>
                    <a:pt x="178" y="32"/>
                    <a:pt x="186" y="50"/>
                    <a:pt x="186" y="72"/>
                  </a:cubicBezTo>
                  <a:cubicBezTo>
                    <a:pt x="185" y="87"/>
                    <a:pt x="181" y="100"/>
                    <a:pt x="174" y="111"/>
                  </a:cubicBezTo>
                  <a:cubicBezTo>
                    <a:pt x="166" y="122"/>
                    <a:pt x="156" y="130"/>
                    <a:pt x="142" y="135"/>
                  </a:cubicBezTo>
                  <a:cubicBezTo>
                    <a:pt x="158" y="140"/>
                    <a:pt x="171" y="148"/>
                    <a:pt x="179" y="159"/>
                  </a:cubicBezTo>
                  <a:close/>
                </a:path>
              </a:pathLst>
            </a:custGeom>
            <a:solidFill>
              <a:schemeClr val="accent6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" name="CustomText1"/>
            <p:cNvSpPr/>
            <p:nvPr/>
          </p:nvSpPr>
          <p:spPr>
            <a:xfrm>
              <a:off x="8579336" y="2126471"/>
              <a:ext cx="113307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dirty="0">
                  <a:solidFill>
                    <a:schemeClr val="tx2"/>
                  </a:solidFill>
                </a:rPr>
                <a:t>Category</a:t>
              </a:r>
              <a:endParaRPr lang="zh-CN" altLang="en-US" dirty="0">
                <a:solidFill>
                  <a:schemeClr val="tx2"/>
                </a:solidFill>
              </a:endParaRPr>
            </a:p>
          </p:txBody>
        </p:sp>
        <p:sp>
          <p:nvSpPr>
            <p:cNvPr id="13" name="CustomText2"/>
            <p:cNvSpPr/>
            <p:nvPr/>
          </p:nvSpPr>
          <p:spPr bwMode="auto">
            <a:xfrm>
              <a:off x="8579336" y="2458323"/>
              <a:ext cx="2530883" cy="2354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92500" lnSpcReduction="10000"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sz="1100" dirty="0">
                  <a:solidFill>
                    <a:schemeClr val="bg2">
                      <a:lumMod val="75000"/>
                    </a:schemeClr>
                  </a:solidFill>
                </a:rPr>
                <a:t>Text Here Text Here Text Here</a:t>
              </a:r>
              <a:endParaRPr lang="zh-CN" altLang="en-US" sz="1100" dirty="0">
                <a:solidFill>
                  <a:schemeClr val="bg2">
                    <a:lumMod val="75000"/>
                  </a:schemeClr>
                </a:solidFill>
              </a:endParaRPr>
            </a:p>
            <a:p>
              <a:pPr>
                <a:spcBef>
                  <a:spcPct val="0"/>
                </a:spcBef>
              </a:pPr>
              <a:endParaRPr lang="zh-CN" altLang="en-US" sz="1100" dirty="0">
                <a:solidFill>
                  <a:schemeClr val="bg2">
                    <a:lumMod val="75000"/>
                  </a:schemeClr>
                </a:solidFill>
              </a:endParaRPr>
            </a:p>
          </p:txBody>
        </p:sp>
        <p:sp>
          <p:nvSpPr>
            <p:cNvPr id="14" name="CustomText3"/>
            <p:cNvSpPr/>
            <p:nvPr/>
          </p:nvSpPr>
          <p:spPr>
            <a:xfrm>
              <a:off x="8579336" y="3424768"/>
              <a:ext cx="113307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dirty="0">
                  <a:solidFill>
                    <a:schemeClr val="tx2"/>
                  </a:solidFill>
                </a:rPr>
                <a:t>Category</a:t>
              </a:r>
              <a:endParaRPr lang="zh-CN" altLang="en-US" dirty="0">
                <a:solidFill>
                  <a:schemeClr val="tx2"/>
                </a:solidFill>
              </a:endParaRPr>
            </a:p>
          </p:txBody>
        </p:sp>
        <p:sp>
          <p:nvSpPr>
            <p:cNvPr id="15" name="CustomText4"/>
            <p:cNvSpPr/>
            <p:nvPr/>
          </p:nvSpPr>
          <p:spPr bwMode="auto">
            <a:xfrm>
              <a:off x="8579336" y="3756620"/>
              <a:ext cx="2530883" cy="2354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92500" lnSpcReduction="10000"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sz="1100" dirty="0">
                  <a:solidFill>
                    <a:schemeClr val="bg2">
                      <a:lumMod val="75000"/>
                    </a:schemeClr>
                  </a:solidFill>
                </a:rPr>
                <a:t>Text Here Text Here Text Here</a:t>
              </a:r>
              <a:endParaRPr lang="zh-CN" altLang="en-US" sz="1100" dirty="0">
                <a:solidFill>
                  <a:schemeClr val="bg2">
                    <a:lumMod val="75000"/>
                  </a:schemeClr>
                </a:solidFill>
              </a:endParaRPr>
            </a:p>
            <a:p>
              <a:pPr>
                <a:spcBef>
                  <a:spcPct val="0"/>
                </a:spcBef>
              </a:pPr>
              <a:endParaRPr lang="zh-CN" altLang="en-US" sz="1100" dirty="0">
                <a:solidFill>
                  <a:schemeClr val="bg2">
                    <a:lumMod val="75000"/>
                  </a:schemeClr>
                </a:solidFill>
              </a:endParaRPr>
            </a:p>
          </p:txBody>
        </p:sp>
        <p:sp>
          <p:nvSpPr>
            <p:cNvPr id="16" name="CustomText5"/>
            <p:cNvSpPr/>
            <p:nvPr/>
          </p:nvSpPr>
          <p:spPr>
            <a:xfrm>
              <a:off x="8579336" y="4684965"/>
              <a:ext cx="113307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dirty="0">
                  <a:solidFill>
                    <a:schemeClr val="tx2"/>
                  </a:solidFill>
                </a:rPr>
                <a:t>Category</a:t>
              </a:r>
              <a:endParaRPr lang="zh-CN" altLang="en-US" dirty="0">
                <a:solidFill>
                  <a:schemeClr val="tx2"/>
                </a:solidFill>
              </a:endParaRPr>
            </a:p>
          </p:txBody>
        </p:sp>
        <p:sp>
          <p:nvSpPr>
            <p:cNvPr id="17" name="CustomText6"/>
            <p:cNvSpPr/>
            <p:nvPr/>
          </p:nvSpPr>
          <p:spPr bwMode="auto">
            <a:xfrm>
              <a:off x="8579336" y="5016817"/>
              <a:ext cx="2530883" cy="2354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92500" lnSpcReduction="10000"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sz="1100" dirty="0">
                  <a:solidFill>
                    <a:schemeClr val="bg2">
                      <a:lumMod val="75000"/>
                    </a:schemeClr>
                  </a:solidFill>
                </a:rPr>
                <a:t>Text Here Text Here Text Here</a:t>
              </a:r>
              <a:endParaRPr lang="zh-CN" altLang="en-US" sz="1100" dirty="0">
                <a:solidFill>
                  <a:schemeClr val="bg2">
                    <a:lumMod val="75000"/>
                  </a:schemeClr>
                </a:solidFill>
              </a:endParaRPr>
            </a:p>
            <a:p>
              <a:pPr>
                <a:spcBef>
                  <a:spcPct val="0"/>
                </a:spcBef>
              </a:pPr>
              <a:endParaRPr lang="zh-CN" altLang="en-US" sz="1100" dirty="0">
                <a:solidFill>
                  <a:schemeClr val="bg2">
                    <a:lumMod val="75000"/>
                  </a:schemeClr>
                </a:solidFill>
              </a:endParaRPr>
            </a:p>
          </p:txBody>
        </p:sp>
        <p:sp>
          <p:nvSpPr>
            <p:cNvPr id="18" name="ExtraShape"/>
            <p:cNvSpPr/>
            <p:nvPr/>
          </p:nvSpPr>
          <p:spPr bwMode="auto">
            <a:xfrm>
              <a:off x="1081781" y="2039933"/>
              <a:ext cx="6270621" cy="3762376"/>
            </a:xfrm>
            <a:custGeom>
              <a:avLst/>
              <a:gdLst>
                <a:gd name="connsiteX0" fmla="*/ 6122983 w 6270621"/>
                <a:gd name="connsiteY0" fmla="*/ 3598863 h 3762376"/>
                <a:gd name="connsiteX1" fmla="*/ 6138858 w 6270621"/>
                <a:gd name="connsiteY1" fmla="*/ 3630613 h 3762376"/>
                <a:gd name="connsiteX2" fmla="*/ 6111871 w 6270621"/>
                <a:gd name="connsiteY2" fmla="*/ 3662363 h 3762376"/>
                <a:gd name="connsiteX3" fmla="*/ 6022971 w 6270621"/>
                <a:gd name="connsiteY3" fmla="*/ 3746501 h 3762376"/>
                <a:gd name="connsiteX4" fmla="*/ 5975346 w 6270621"/>
                <a:gd name="connsiteY4" fmla="*/ 3762376 h 3762376"/>
                <a:gd name="connsiteX5" fmla="*/ 5927721 w 6270621"/>
                <a:gd name="connsiteY5" fmla="*/ 3751264 h 3762376"/>
                <a:gd name="connsiteX6" fmla="*/ 5921371 w 6270621"/>
                <a:gd name="connsiteY6" fmla="*/ 3735389 h 3762376"/>
                <a:gd name="connsiteX7" fmla="*/ 6027734 w 6270621"/>
                <a:gd name="connsiteY7" fmla="*/ 3678238 h 3762376"/>
                <a:gd name="connsiteX8" fmla="*/ 6107108 w 6270621"/>
                <a:gd name="connsiteY8" fmla="*/ 3608388 h 3762376"/>
                <a:gd name="connsiteX9" fmla="*/ 5567359 w 6270621"/>
                <a:gd name="connsiteY9" fmla="*/ 3503613 h 3762376"/>
                <a:gd name="connsiteX10" fmla="*/ 5594347 w 6270621"/>
                <a:gd name="connsiteY10" fmla="*/ 3519488 h 3762376"/>
                <a:gd name="connsiteX11" fmla="*/ 5641971 w 6270621"/>
                <a:gd name="connsiteY11" fmla="*/ 3513138 h 3762376"/>
                <a:gd name="connsiteX12" fmla="*/ 5626096 w 6270621"/>
                <a:gd name="connsiteY12" fmla="*/ 3540126 h 3762376"/>
                <a:gd name="connsiteX13" fmla="*/ 5610221 w 6270621"/>
                <a:gd name="connsiteY13" fmla="*/ 3576638 h 3762376"/>
                <a:gd name="connsiteX14" fmla="*/ 5578472 w 6270621"/>
                <a:gd name="connsiteY14" fmla="*/ 3598863 h 3762376"/>
                <a:gd name="connsiteX15" fmla="*/ 5567359 w 6270621"/>
                <a:gd name="connsiteY15" fmla="*/ 3587751 h 3762376"/>
                <a:gd name="connsiteX16" fmla="*/ 5551484 w 6270621"/>
                <a:gd name="connsiteY16" fmla="*/ 3560763 h 3762376"/>
                <a:gd name="connsiteX17" fmla="*/ 5567359 w 6270621"/>
                <a:gd name="connsiteY17" fmla="*/ 3551238 h 3762376"/>
                <a:gd name="connsiteX18" fmla="*/ 5567359 w 6270621"/>
                <a:gd name="connsiteY18" fmla="*/ 3524251 h 3762376"/>
                <a:gd name="connsiteX19" fmla="*/ 6212678 w 6270621"/>
                <a:gd name="connsiteY19" fmla="*/ 3408363 h 3762376"/>
                <a:gd name="connsiteX20" fmla="*/ 6223213 w 6270621"/>
                <a:gd name="connsiteY20" fmla="*/ 3434693 h 3762376"/>
                <a:gd name="connsiteX21" fmla="*/ 6233748 w 6270621"/>
                <a:gd name="connsiteY21" fmla="*/ 3466288 h 3762376"/>
                <a:gd name="connsiteX22" fmla="*/ 6244283 w 6270621"/>
                <a:gd name="connsiteY22" fmla="*/ 3476819 h 3762376"/>
                <a:gd name="connsiteX23" fmla="*/ 6244283 w 6270621"/>
                <a:gd name="connsiteY23" fmla="*/ 3518946 h 3762376"/>
                <a:gd name="connsiteX24" fmla="*/ 6270621 w 6270621"/>
                <a:gd name="connsiteY24" fmla="*/ 3518946 h 3762376"/>
                <a:gd name="connsiteX25" fmla="*/ 6270621 w 6270621"/>
                <a:gd name="connsiteY25" fmla="*/ 3540010 h 3762376"/>
                <a:gd name="connsiteX26" fmla="*/ 6244283 w 6270621"/>
                <a:gd name="connsiteY26" fmla="*/ 3566339 h 3762376"/>
                <a:gd name="connsiteX27" fmla="*/ 6217945 w 6270621"/>
                <a:gd name="connsiteY27" fmla="*/ 3576871 h 3762376"/>
                <a:gd name="connsiteX28" fmla="*/ 6207410 w 6270621"/>
                <a:gd name="connsiteY28" fmla="*/ 3597934 h 3762376"/>
                <a:gd name="connsiteX29" fmla="*/ 6170537 w 6270621"/>
                <a:gd name="connsiteY29" fmla="*/ 3624263 h 3762376"/>
                <a:gd name="connsiteX30" fmla="*/ 6175805 w 6270621"/>
                <a:gd name="connsiteY30" fmla="*/ 3608466 h 3762376"/>
                <a:gd name="connsiteX31" fmla="*/ 6165269 w 6270621"/>
                <a:gd name="connsiteY31" fmla="*/ 3587402 h 3762376"/>
                <a:gd name="connsiteX32" fmla="*/ 6154734 w 6270621"/>
                <a:gd name="connsiteY32" fmla="*/ 3566339 h 3762376"/>
                <a:gd name="connsiteX33" fmla="*/ 6181072 w 6270621"/>
                <a:gd name="connsiteY33" fmla="*/ 3540010 h 3762376"/>
                <a:gd name="connsiteX34" fmla="*/ 6207410 w 6270621"/>
                <a:gd name="connsiteY34" fmla="*/ 3529478 h 3762376"/>
                <a:gd name="connsiteX35" fmla="*/ 6202143 w 6270621"/>
                <a:gd name="connsiteY35" fmla="*/ 3508414 h 3762376"/>
                <a:gd name="connsiteX36" fmla="*/ 6207410 w 6270621"/>
                <a:gd name="connsiteY36" fmla="*/ 3476819 h 3762376"/>
                <a:gd name="connsiteX37" fmla="*/ 6202143 w 6270621"/>
                <a:gd name="connsiteY37" fmla="*/ 3418895 h 3762376"/>
                <a:gd name="connsiteX38" fmla="*/ 5768070 w 6270621"/>
                <a:gd name="connsiteY38" fmla="*/ 2667000 h 3762376"/>
                <a:gd name="connsiteX39" fmla="*/ 5783924 w 6270621"/>
                <a:gd name="connsiteY39" fmla="*/ 2677577 h 3762376"/>
                <a:gd name="connsiteX40" fmla="*/ 5783924 w 6270621"/>
                <a:gd name="connsiteY40" fmla="*/ 2762187 h 3762376"/>
                <a:gd name="connsiteX41" fmla="*/ 5815633 w 6270621"/>
                <a:gd name="connsiteY41" fmla="*/ 2772764 h 3762376"/>
                <a:gd name="connsiteX42" fmla="*/ 5810349 w 6270621"/>
                <a:gd name="connsiteY42" fmla="*/ 2815069 h 3762376"/>
                <a:gd name="connsiteX43" fmla="*/ 5815633 w 6270621"/>
                <a:gd name="connsiteY43" fmla="*/ 2857374 h 3762376"/>
                <a:gd name="connsiteX44" fmla="*/ 5810349 w 6270621"/>
                <a:gd name="connsiteY44" fmla="*/ 2889103 h 3762376"/>
                <a:gd name="connsiteX45" fmla="*/ 5842058 w 6270621"/>
                <a:gd name="connsiteY45" fmla="*/ 2926120 h 3762376"/>
                <a:gd name="connsiteX46" fmla="*/ 5852627 w 6270621"/>
                <a:gd name="connsiteY46" fmla="*/ 2973714 h 3762376"/>
                <a:gd name="connsiteX47" fmla="*/ 5863197 w 6270621"/>
                <a:gd name="connsiteY47" fmla="*/ 2994866 h 3762376"/>
                <a:gd name="connsiteX48" fmla="*/ 5868482 w 6270621"/>
                <a:gd name="connsiteY48" fmla="*/ 3021307 h 3762376"/>
                <a:gd name="connsiteX49" fmla="*/ 5889621 w 6270621"/>
                <a:gd name="connsiteY49" fmla="*/ 3063613 h 3762376"/>
                <a:gd name="connsiteX50" fmla="*/ 5889621 w 6270621"/>
                <a:gd name="connsiteY50" fmla="*/ 3127071 h 3762376"/>
                <a:gd name="connsiteX51" fmla="*/ 5879052 w 6270621"/>
                <a:gd name="connsiteY51" fmla="*/ 3179952 h 3762376"/>
                <a:gd name="connsiteX52" fmla="*/ 5820918 w 6270621"/>
                <a:gd name="connsiteY52" fmla="*/ 3291004 h 3762376"/>
                <a:gd name="connsiteX53" fmla="*/ 5757500 w 6270621"/>
                <a:gd name="connsiteY53" fmla="*/ 3354462 h 3762376"/>
                <a:gd name="connsiteX54" fmla="*/ 5741646 w 6270621"/>
                <a:gd name="connsiteY54" fmla="*/ 3375614 h 3762376"/>
                <a:gd name="connsiteX55" fmla="*/ 5709937 w 6270621"/>
                <a:gd name="connsiteY55" fmla="*/ 3433784 h 3762376"/>
                <a:gd name="connsiteX56" fmla="*/ 5678228 w 6270621"/>
                <a:gd name="connsiteY56" fmla="*/ 3428496 h 3762376"/>
                <a:gd name="connsiteX57" fmla="*/ 5662373 w 6270621"/>
                <a:gd name="connsiteY57" fmla="*/ 3439072 h 3762376"/>
                <a:gd name="connsiteX58" fmla="*/ 5625379 w 6270621"/>
                <a:gd name="connsiteY58" fmla="*/ 3465513 h 3762376"/>
                <a:gd name="connsiteX59" fmla="*/ 5609525 w 6270621"/>
                <a:gd name="connsiteY59" fmla="*/ 3433784 h 3762376"/>
                <a:gd name="connsiteX60" fmla="*/ 5572531 w 6270621"/>
                <a:gd name="connsiteY60" fmla="*/ 3439072 h 3762376"/>
                <a:gd name="connsiteX61" fmla="*/ 5530252 w 6270621"/>
                <a:gd name="connsiteY61" fmla="*/ 3417920 h 3762376"/>
                <a:gd name="connsiteX62" fmla="*/ 5514398 w 6270621"/>
                <a:gd name="connsiteY62" fmla="*/ 3396767 h 3762376"/>
                <a:gd name="connsiteX63" fmla="*/ 5524967 w 6270621"/>
                <a:gd name="connsiteY63" fmla="*/ 3375614 h 3762376"/>
                <a:gd name="connsiteX64" fmla="*/ 5524967 w 6270621"/>
                <a:gd name="connsiteY64" fmla="*/ 3343885 h 3762376"/>
                <a:gd name="connsiteX65" fmla="*/ 5519683 w 6270621"/>
                <a:gd name="connsiteY65" fmla="*/ 3333309 h 3762376"/>
                <a:gd name="connsiteX66" fmla="*/ 5530252 w 6270621"/>
                <a:gd name="connsiteY66" fmla="*/ 3301580 h 3762376"/>
                <a:gd name="connsiteX67" fmla="*/ 5509113 w 6270621"/>
                <a:gd name="connsiteY67" fmla="*/ 3322733 h 3762376"/>
                <a:gd name="connsiteX68" fmla="*/ 5498543 w 6270621"/>
                <a:gd name="connsiteY68" fmla="*/ 3343885 h 3762376"/>
                <a:gd name="connsiteX69" fmla="*/ 5477404 w 6270621"/>
                <a:gd name="connsiteY69" fmla="*/ 3349174 h 3762376"/>
                <a:gd name="connsiteX70" fmla="*/ 5472119 w 6270621"/>
                <a:gd name="connsiteY70" fmla="*/ 3338597 h 3762376"/>
                <a:gd name="connsiteX71" fmla="*/ 5503828 w 6270621"/>
                <a:gd name="connsiteY71" fmla="*/ 3306868 h 3762376"/>
                <a:gd name="connsiteX72" fmla="*/ 5524967 w 6270621"/>
                <a:gd name="connsiteY72" fmla="*/ 3280427 h 3762376"/>
                <a:gd name="connsiteX73" fmla="*/ 5530252 w 6270621"/>
                <a:gd name="connsiteY73" fmla="*/ 3253987 h 3762376"/>
                <a:gd name="connsiteX74" fmla="*/ 5487973 w 6270621"/>
                <a:gd name="connsiteY74" fmla="*/ 3291004 h 3762376"/>
                <a:gd name="connsiteX75" fmla="*/ 5472119 w 6270621"/>
                <a:gd name="connsiteY75" fmla="*/ 3312156 h 3762376"/>
                <a:gd name="connsiteX76" fmla="*/ 5461549 w 6270621"/>
                <a:gd name="connsiteY76" fmla="*/ 3301580 h 3762376"/>
                <a:gd name="connsiteX77" fmla="*/ 5461549 w 6270621"/>
                <a:gd name="connsiteY77" fmla="*/ 3269851 h 3762376"/>
                <a:gd name="connsiteX78" fmla="*/ 5450980 w 6270621"/>
                <a:gd name="connsiteY78" fmla="*/ 3227546 h 3762376"/>
                <a:gd name="connsiteX79" fmla="*/ 5419271 w 6270621"/>
                <a:gd name="connsiteY79" fmla="*/ 3201105 h 3762376"/>
                <a:gd name="connsiteX80" fmla="*/ 5371707 w 6270621"/>
                <a:gd name="connsiteY80" fmla="*/ 3201105 h 3762376"/>
                <a:gd name="connsiteX81" fmla="*/ 5339998 w 6270621"/>
                <a:gd name="connsiteY81" fmla="*/ 3216969 h 3762376"/>
                <a:gd name="connsiteX82" fmla="*/ 5324143 w 6270621"/>
                <a:gd name="connsiteY82" fmla="*/ 3206393 h 3762376"/>
                <a:gd name="connsiteX83" fmla="*/ 5260725 w 6270621"/>
                <a:gd name="connsiteY83" fmla="*/ 3222258 h 3762376"/>
                <a:gd name="connsiteX84" fmla="*/ 5239586 w 6270621"/>
                <a:gd name="connsiteY84" fmla="*/ 3248698 h 3762376"/>
                <a:gd name="connsiteX85" fmla="*/ 5176168 w 6270621"/>
                <a:gd name="connsiteY85" fmla="*/ 3238122 h 3762376"/>
                <a:gd name="connsiteX86" fmla="*/ 5118034 w 6270621"/>
                <a:gd name="connsiteY86" fmla="*/ 3259275 h 3762376"/>
                <a:gd name="connsiteX87" fmla="*/ 5086325 w 6270621"/>
                <a:gd name="connsiteY87" fmla="*/ 3253987 h 3762376"/>
                <a:gd name="connsiteX88" fmla="*/ 5070471 w 6270621"/>
                <a:gd name="connsiteY88" fmla="*/ 3232834 h 3762376"/>
                <a:gd name="connsiteX89" fmla="*/ 5091610 w 6270621"/>
                <a:gd name="connsiteY89" fmla="*/ 3211681 h 3762376"/>
                <a:gd name="connsiteX90" fmla="*/ 5118034 w 6270621"/>
                <a:gd name="connsiteY90" fmla="*/ 3169376 h 3762376"/>
                <a:gd name="connsiteX91" fmla="*/ 5107465 w 6270621"/>
                <a:gd name="connsiteY91" fmla="*/ 3142935 h 3762376"/>
                <a:gd name="connsiteX92" fmla="*/ 5107465 w 6270621"/>
                <a:gd name="connsiteY92" fmla="*/ 3063613 h 3762376"/>
                <a:gd name="connsiteX93" fmla="*/ 5118034 w 6270621"/>
                <a:gd name="connsiteY93" fmla="*/ 3010731 h 3762376"/>
                <a:gd name="connsiteX94" fmla="*/ 5128604 w 6270621"/>
                <a:gd name="connsiteY94" fmla="*/ 2936697 h 3762376"/>
                <a:gd name="connsiteX95" fmla="*/ 5181452 w 6270621"/>
                <a:gd name="connsiteY95" fmla="*/ 2894391 h 3762376"/>
                <a:gd name="connsiteX96" fmla="*/ 5244870 w 6270621"/>
                <a:gd name="connsiteY96" fmla="*/ 2867951 h 3762376"/>
                <a:gd name="connsiteX97" fmla="*/ 5281864 w 6270621"/>
                <a:gd name="connsiteY97" fmla="*/ 2867951 h 3762376"/>
                <a:gd name="connsiteX98" fmla="*/ 5313573 w 6270621"/>
                <a:gd name="connsiteY98" fmla="*/ 2852086 h 3762376"/>
                <a:gd name="connsiteX99" fmla="*/ 5329428 w 6270621"/>
                <a:gd name="connsiteY99" fmla="*/ 2836222 h 3762376"/>
                <a:gd name="connsiteX100" fmla="*/ 5329428 w 6270621"/>
                <a:gd name="connsiteY100" fmla="*/ 2804493 h 3762376"/>
                <a:gd name="connsiteX101" fmla="*/ 5350567 w 6270621"/>
                <a:gd name="connsiteY101" fmla="*/ 2783340 h 3762376"/>
                <a:gd name="connsiteX102" fmla="*/ 5350567 w 6270621"/>
                <a:gd name="connsiteY102" fmla="*/ 2799204 h 3762376"/>
                <a:gd name="connsiteX103" fmla="*/ 5361137 w 6270621"/>
                <a:gd name="connsiteY103" fmla="*/ 2820357 h 3762376"/>
                <a:gd name="connsiteX104" fmla="*/ 5366422 w 6270621"/>
                <a:gd name="connsiteY104" fmla="*/ 2788628 h 3762376"/>
                <a:gd name="connsiteX105" fmla="*/ 5382277 w 6270621"/>
                <a:gd name="connsiteY105" fmla="*/ 2788628 h 3762376"/>
                <a:gd name="connsiteX106" fmla="*/ 5382277 w 6270621"/>
                <a:gd name="connsiteY106" fmla="*/ 2772764 h 3762376"/>
                <a:gd name="connsiteX107" fmla="*/ 5419271 w 6270621"/>
                <a:gd name="connsiteY107" fmla="*/ 2741035 h 3762376"/>
                <a:gd name="connsiteX108" fmla="*/ 5445695 w 6270621"/>
                <a:gd name="connsiteY108" fmla="*/ 2719882 h 3762376"/>
                <a:gd name="connsiteX109" fmla="*/ 5466834 w 6270621"/>
                <a:gd name="connsiteY109" fmla="*/ 2751611 h 3762376"/>
                <a:gd name="connsiteX110" fmla="*/ 5456264 w 6270621"/>
                <a:gd name="connsiteY110" fmla="*/ 2778052 h 3762376"/>
                <a:gd name="connsiteX111" fmla="*/ 5498543 w 6270621"/>
                <a:gd name="connsiteY111" fmla="*/ 2767475 h 3762376"/>
                <a:gd name="connsiteX112" fmla="*/ 5487973 w 6270621"/>
                <a:gd name="connsiteY112" fmla="*/ 2741035 h 3762376"/>
                <a:gd name="connsiteX113" fmla="*/ 5503828 w 6270621"/>
                <a:gd name="connsiteY113" fmla="*/ 2725170 h 3762376"/>
                <a:gd name="connsiteX114" fmla="*/ 5524967 w 6270621"/>
                <a:gd name="connsiteY114" fmla="*/ 2688153 h 3762376"/>
                <a:gd name="connsiteX115" fmla="*/ 5577816 w 6270621"/>
                <a:gd name="connsiteY115" fmla="*/ 2677577 h 3762376"/>
                <a:gd name="connsiteX116" fmla="*/ 5620094 w 6270621"/>
                <a:gd name="connsiteY116" fmla="*/ 2698729 h 3762376"/>
                <a:gd name="connsiteX117" fmla="*/ 5641234 w 6270621"/>
                <a:gd name="connsiteY117" fmla="*/ 2688153 h 3762376"/>
                <a:gd name="connsiteX118" fmla="*/ 5657088 w 6270621"/>
                <a:gd name="connsiteY118" fmla="*/ 2704017 h 3762376"/>
                <a:gd name="connsiteX119" fmla="*/ 5630664 w 6270621"/>
                <a:gd name="connsiteY119" fmla="*/ 2735746 h 3762376"/>
                <a:gd name="connsiteX120" fmla="*/ 5614810 w 6270621"/>
                <a:gd name="connsiteY120" fmla="*/ 2772764 h 3762376"/>
                <a:gd name="connsiteX121" fmla="*/ 5651803 w 6270621"/>
                <a:gd name="connsiteY121" fmla="*/ 2820357 h 3762376"/>
                <a:gd name="connsiteX122" fmla="*/ 5683513 w 6270621"/>
                <a:gd name="connsiteY122" fmla="*/ 2852086 h 3762376"/>
                <a:gd name="connsiteX123" fmla="*/ 5704652 w 6270621"/>
                <a:gd name="connsiteY123" fmla="*/ 2852086 h 3762376"/>
                <a:gd name="connsiteX124" fmla="*/ 5715222 w 6270621"/>
                <a:gd name="connsiteY124" fmla="*/ 2830933 h 3762376"/>
                <a:gd name="connsiteX125" fmla="*/ 5731076 w 6270621"/>
                <a:gd name="connsiteY125" fmla="*/ 2762187 h 3762376"/>
                <a:gd name="connsiteX126" fmla="*/ 5757500 w 6270621"/>
                <a:gd name="connsiteY126" fmla="*/ 2693441 h 3762376"/>
                <a:gd name="connsiteX127" fmla="*/ 5768070 w 6270621"/>
                <a:gd name="connsiteY127" fmla="*/ 2667000 h 3762376"/>
                <a:gd name="connsiteX128" fmla="*/ 3889371 w 6270621"/>
                <a:gd name="connsiteY128" fmla="*/ 2630488 h 3762376"/>
                <a:gd name="connsiteX129" fmla="*/ 3900484 w 6270621"/>
                <a:gd name="connsiteY129" fmla="*/ 2671763 h 3762376"/>
                <a:gd name="connsiteX130" fmla="*/ 3900484 w 6270621"/>
                <a:gd name="connsiteY130" fmla="*/ 2709863 h 3762376"/>
                <a:gd name="connsiteX131" fmla="*/ 3878259 w 6270621"/>
                <a:gd name="connsiteY131" fmla="*/ 2725738 h 3762376"/>
                <a:gd name="connsiteX132" fmla="*/ 3884609 w 6270621"/>
                <a:gd name="connsiteY132" fmla="*/ 2751138 h 3762376"/>
                <a:gd name="connsiteX133" fmla="*/ 3830634 w 6270621"/>
                <a:gd name="connsiteY133" fmla="*/ 2873376 h 3762376"/>
                <a:gd name="connsiteX134" fmla="*/ 3805234 w 6270621"/>
                <a:gd name="connsiteY134" fmla="*/ 2921001 h 3762376"/>
                <a:gd name="connsiteX135" fmla="*/ 3767134 w 6270621"/>
                <a:gd name="connsiteY135" fmla="*/ 2921001 h 3762376"/>
                <a:gd name="connsiteX136" fmla="*/ 3751259 w 6270621"/>
                <a:gd name="connsiteY136" fmla="*/ 2894014 h 3762376"/>
                <a:gd name="connsiteX137" fmla="*/ 3751259 w 6270621"/>
                <a:gd name="connsiteY137" fmla="*/ 2836864 h 3762376"/>
                <a:gd name="connsiteX138" fmla="*/ 3778246 w 6270621"/>
                <a:gd name="connsiteY138" fmla="*/ 2809876 h 3762376"/>
                <a:gd name="connsiteX139" fmla="*/ 3767134 w 6270621"/>
                <a:gd name="connsiteY139" fmla="*/ 2746376 h 3762376"/>
                <a:gd name="connsiteX140" fmla="*/ 3778246 w 6270621"/>
                <a:gd name="connsiteY140" fmla="*/ 2719388 h 3762376"/>
                <a:gd name="connsiteX141" fmla="*/ 3814759 w 6270621"/>
                <a:gd name="connsiteY141" fmla="*/ 2714626 h 3762376"/>
                <a:gd name="connsiteX142" fmla="*/ 3846509 w 6270621"/>
                <a:gd name="connsiteY142" fmla="*/ 2682876 h 3762376"/>
                <a:gd name="connsiteX143" fmla="*/ 5038721 w 6270621"/>
                <a:gd name="connsiteY143" fmla="*/ 2519363 h 3762376"/>
                <a:gd name="connsiteX144" fmla="*/ 5064121 w 6270621"/>
                <a:gd name="connsiteY144" fmla="*/ 2519363 h 3762376"/>
                <a:gd name="connsiteX145" fmla="*/ 5091109 w 6270621"/>
                <a:gd name="connsiteY145" fmla="*/ 2535238 h 3762376"/>
                <a:gd name="connsiteX146" fmla="*/ 5133971 w 6270621"/>
                <a:gd name="connsiteY146" fmla="*/ 2528888 h 3762376"/>
                <a:gd name="connsiteX147" fmla="*/ 5165721 w 6270621"/>
                <a:gd name="connsiteY147" fmla="*/ 2535238 h 3762376"/>
                <a:gd name="connsiteX148" fmla="*/ 5186358 w 6270621"/>
                <a:gd name="connsiteY148" fmla="*/ 2560639 h 3762376"/>
                <a:gd name="connsiteX149" fmla="*/ 5206996 w 6270621"/>
                <a:gd name="connsiteY149" fmla="*/ 2571751 h 3762376"/>
                <a:gd name="connsiteX150" fmla="*/ 5197471 w 6270621"/>
                <a:gd name="connsiteY150" fmla="*/ 2587626 h 3762376"/>
                <a:gd name="connsiteX151" fmla="*/ 5095871 w 6270621"/>
                <a:gd name="connsiteY151" fmla="*/ 2560639 h 3762376"/>
                <a:gd name="connsiteX152" fmla="*/ 5027609 w 6270621"/>
                <a:gd name="connsiteY152" fmla="*/ 2540001 h 3762376"/>
                <a:gd name="connsiteX153" fmla="*/ 5594346 w 6270621"/>
                <a:gd name="connsiteY153" fmla="*/ 2386013 h 3762376"/>
                <a:gd name="connsiteX154" fmla="*/ 5619746 w 6270621"/>
                <a:gd name="connsiteY154" fmla="*/ 2386013 h 3762376"/>
                <a:gd name="connsiteX155" fmla="*/ 5619746 w 6270621"/>
                <a:gd name="connsiteY155" fmla="*/ 2424113 h 3762376"/>
                <a:gd name="connsiteX156" fmla="*/ 5641971 w 6270621"/>
                <a:gd name="connsiteY156" fmla="*/ 2455863 h 3762376"/>
                <a:gd name="connsiteX157" fmla="*/ 5667371 w 6270621"/>
                <a:gd name="connsiteY157" fmla="*/ 2433638 h 3762376"/>
                <a:gd name="connsiteX158" fmla="*/ 5694359 w 6270621"/>
                <a:gd name="connsiteY158" fmla="*/ 2408238 h 3762376"/>
                <a:gd name="connsiteX159" fmla="*/ 5768971 w 6270621"/>
                <a:gd name="connsiteY159" fmla="*/ 2455863 h 3762376"/>
                <a:gd name="connsiteX160" fmla="*/ 5841996 w 6270621"/>
                <a:gd name="connsiteY160" fmla="*/ 2487613 h 3762376"/>
                <a:gd name="connsiteX161" fmla="*/ 5853109 w 6270621"/>
                <a:gd name="connsiteY161" fmla="*/ 2519363 h 3762376"/>
                <a:gd name="connsiteX162" fmla="*/ 5905496 w 6270621"/>
                <a:gd name="connsiteY162" fmla="*/ 2535238 h 3762376"/>
                <a:gd name="connsiteX163" fmla="*/ 5953121 w 6270621"/>
                <a:gd name="connsiteY163" fmla="*/ 2524126 h 3762376"/>
                <a:gd name="connsiteX164" fmla="*/ 5968996 w 6270621"/>
                <a:gd name="connsiteY164" fmla="*/ 2497138 h 3762376"/>
                <a:gd name="connsiteX165" fmla="*/ 5991221 w 6270621"/>
                <a:gd name="connsiteY165" fmla="*/ 2503488 h 3762376"/>
                <a:gd name="connsiteX166" fmla="*/ 5959471 w 6270621"/>
                <a:gd name="connsiteY166" fmla="*/ 2544763 h 3762376"/>
                <a:gd name="connsiteX167" fmla="*/ 5911846 w 6270621"/>
                <a:gd name="connsiteY167" fmla="*/ 2544763 h 3762376"/>
                <a:gd name="connsiteX168" fmla="*/ 5873746 w 6270621"/>
                <a:gd name="connsiteY168" fmla="*/ 2551113 h 3762376"/>
                <a:gd name="connsiteX169" fmla="*/ 5889621 w 6270621"/>
                <a:gd name="connsiteY169" fmla="*/ 2587626 h 3762376"/>
                <a:gd name="connsiteX170" fmla="*/ 5905496 w 6270621"/>
                <a:gd name="connsiteY170" fmla="*/ 2624138 h 3762376"/>
                <a:gd name="connsiteX171" fmla="*/ 5948359 w 6270621"/>
                <a:gd name="connsiteY171" fmla="*/ 2655888 h 3762376"/>
                <a:gd name="connsiteX172" fmla="*/ 5927721 w 6270621"/>
                <a:gd name="connsiteY172" fmla="*/ 2678113 h 3762376"/>
                <a:gd name="connsiteX173" fmla="*/ 5880096 w 6270621"/>
                <a:gd name="connsiteY173" fmla="*/ 2667001 h 3762376"/>
                <a:gd name="connsiteX174" fmla="*/ 5864221 w 6270621"/>
                <a:gd name="connsiteY174" fmla="*/ 2635251 h 3762376"/>
                <a:gd name="connsiteX175" fmla="*/ 5864221 w 6270621"/>
                <a:gd name="connsiteY175" fmla="*/ 2608263 h 3762376"/>
                <a:gd name="connsiteX176" fmla="*/ 5837234 w 6270621"/>
                <a:gd name="connsiteY176" fmla="*/ 2576513 h 3762376"/>
                <a:gd name="connsiteX177" fmla="*/ 5826121 w 6270621"/>
                <a:gd name="connsiteY177" fmla="*/ 2587626 h 3762376"/>
                <a:gd name="connsiteX178" fmla="*/ 5784846 w 6270621"/>
                <a:gd name="connsiteY178" fmla="*/ 2598738 h 3762376"/>
                <a:gd name="connsiteX179" fmla="*/ 5800721 w 6270621"/>
                <a:gd name="connsiteY179" fmla="*/ 2619376 h 3762376"/>
                <a:gd name="connsiteX180" fmla="*/ 5746746 w 6270621"/>
                <a:gd name="connsiteY180" fmla="*/ 2624138 h 3762376"/>
                <a:gd name="connsiteX181" fmla="*/ 5705471 w 6270621"/>
                <a:gd name="connsiteY181" fmla="*/ 2587626 h 3762376"/>
                <a:gd name="connsiteX182" fmla="*/ 5705471 w 6270621"/>
                <a:gd name="connsiteY182" fmla="*/ 2566988 h 3762376"/>
                <a:gd name="connsiteX183" fmla="*/ 5705471 w 6270621"/>
                <a:gd name="connsiteY183" fmla="*/ 2524126 h 3762376"/>
                <a:gd name="connsiteX184" fmla="*/ 5662609 w 6270621"/>
                <a:gd name="connsiteY184" fmla="*/ 2497138 h 3762376"/>
                <a:gd name="connsiteX185" fmla="*/ 5614984 w 6270621"/>
                <a:gd name="connsiteY185" fmla="*/ 2476501 h 3762376"/>
                <a:gd name="connsiteX186" fmla="*/ 5587996 w 6270621"/>
                <a:gd name="connsiteY186" fmla="*/ 2481263 h 3762376"/>
                <a:gd name="connsiteX187" fmla="*/ 5583234 w 6270621"/>
                <a:gd name="connsiteY187" fmla="*/ 2460626 h 3762376"/>
                <a:gd name="connsiteX188" fmla="*/ 5572121 w 6270621"/>
                <a:gd name="connsiteY188" fmla="*/ 2444751 h 3762376"/>
                <a:gd name="connsiteX189" fmla="*/ 5599109 w 6270621"/>
                <a:gd name="connsiteY189" fmla="*/ 2428876 h 3762376"/>
                <a:gd name="connsiteX190" fmla="*/ 5556246 w 6270621"/>
                <a:gd name="connsiteY190" fmla="*/ 2392363 h 3762376"/>
                <a:gd name="connsiteX191" fmla="*/ 5356030 w 6270621"/>
                <a:gd name="connsiteY191" fmla="*/ 2333625 h 3762376"/>
                <a:gd name="connsiteX192" fmla="*/ 5408735 w 6270621"/>
                <a:gd name="connsiteY192" fmla="*/ 2349546 h 3762376"/>
                <a:gd name="connsiteX193" fmla="*/ 5440358 w 6270621"/>
                <a:gd name="connsiteY193" fmla="*/ 2333625 h 3762376"/>
                <a:gd name="connsiteX194" fmla="*/ 5424547 w 6270621"/>
                <a:gd name="connsiteY194" fmla="*/ 2360159 h 3762376"/>
                <a:gd name="connsiteX195" fmla="*/ 5392924 w 6270621"/>
                <a:gd name="connsiteY195" fmla="*/ 2360159 h 3762376"/>
                <a:gd name="connsiteX196" fmla="*/ 5356030 w 6270621"/>
                <a:gd name="connsiteY196" fmla="*/ 2360159 h 3762376"/>
                <a:gd name="connsiteX197" fmla="*/ 5340219 w 6270621"/>
                <a:gd name="connsiteY197" fmla="*/ 2392000 h 3762376"/>
                <a:gd name="connsiteX198" fmla="*/ 5382383 w 6270621"/>
                <a:gd name="connsiteY198" fmla="*/ 2423841 h 3762376"/>
                <a:gd name="connsiteX199" fmla="*/ 5398194 w 6270621"/>
                <a:gd name="connsiteY199" fmla="*/ 2476909 h 3762376"/>
                <a:gd name="connsiteX200" fmla="*/ 5387653 w 6270621"/>
                <a:gd name="connsiteY200" fmla="*/ 2498136 h 3762376"/>
                <a:gd name="connsiteX201" fmla="*/ 5361301 w 6270621"/>
                <a:gd name="connsiteY201" fmla="*/ 2492829 h 3762376"/>
                <a:gd name="connsiteX202" fmla="*/ 5361301 w 6270621"/>
                <a:gd name="connsiteY202" fmla="*/ 2460988 h 3762376"/>
                <a:gd name="connsiteX203" fmla="*/ 5340219 w 6270621"/>
                <a:gd name="connsiteY203" fmla="*/ 2429148 h 3762376"/>
                <a:gd name="connsiteX204" fmla="*/ 5345489 w 6270621"/>
                <a:gd name="connsiteY204" fmla="*/ 2466295 h 3762376"/>
                <a:gd name="connsiteX205" fmla="*/ 5329678 w 6270621"/>
                <a:gd name="connsiteY205" fmla="*/ 2508750 h 3762376"/>
                <a:gd name="connsiteX206" fmla="*/ 5313866 w 6270621"/>
                <a:gd name="connsiteY206" fmla="*/ 2503443 h 3762376"/>
                <a:gd name="connsiteX207" fmla="*/ 5313866 w 6270621"/>
                <a:gd name="connsiteY207" fmla="*/ 2460988 h 3762376"/>
                <a:gd name="connsiteX208" fmla="*/ 5308596 w 6270621"/>
                <a:gd name="connsiteY208" fmla="*/ 2434454 h 3762376"/>
                <a:gd name="connsiteX209" fmla="*/ 5319137 w 6270621"/>
                <a:gd name="connsiteY209" fmla="*/ 2407920 h 3762376"/>
                <a:gd name="connsiteX210" fmla="*/ 5324407 w 6270621"/>
                <a:gd name="connsiteY210" fmla="*/ 2370773 h 3762376"/>
                <a:gd name="connsiteX211" fmla="*/ 5356030 w 6270621"/>
                <a:gd name="connsiteY211" fmla="*/ 2333625 h 3762376"/>
                <a:gd name="connsiteX212" fmla="*/ 4816471 w 6270621"/>
                <a:gd name="connsiteY212" fmla="*/ 2233613 h 3762376"/>
                <a:gd name="connsiteX213" fmla="*/ 4848221 w 6270621"/>
                <a:gd name="connsiteY213" fmla="*/ 2233613 h 3762376"/>
                <a:gd name="connsiteX214" fmla="*/ 4921246 w 6270621"/>
                <a:gd name="connsiteY214" fmla="*/ 2312988 h 3762376"/>
                <a:gd name="connsiteX215" fmla="*/ 4952996 w 6270621"/>
                <a:gd name="connsiteY215" fmla="*/ 2333626 h 3762376"/>
                <a:gd name="connsiteX216" fmla="*/ 4991096 w 6270621"/>
                <a:gd name="connsiteY216" fmla="*/ 2381251 h 3762376"/>
                <a:gd name="connsiteX217" fmla="*/ 5016496 w 6270621"/>
                <a:gd name="connsiteY217" fmla="*/ 2417763 h 3762376"/>
                <a:gd name="connsiteX218" fmla="*/ 5032371 w 6270621"/>
                <a:gd name="connsiteY218" fmla="*/ 2433638 h 3762376"/>
                <a:gd name="connsiteX219" fmla="*/ 5027608 w 6270621"/>
                <a:gd name="connsiteY219" fmla="*/ 2471738 h 3762376"/>
                <a:gd name="connsiteX220" fmla="*/ 5027608 w 6270621"/>
                <a:gd name="connsiteY220" fmla="*/ 2503488 h 3762376"/>
                <a:gd name="connsiteX221" fmla="*/ 4991096 w 6270621"/>
                <a:gd name="connsiteY221" fmla="*/ 2492376 h 3762376"/>
                <a:gd name="connsiteX222" fmla="*/ 4952996 w 6270621"/>
                <a:gd name="connsiteY222" fmla="*/ 2455863 h 3762376"/>
                <a:gd name="connsiteX223" fmla="*/ 4905371 w 6270621"/>
                <a:gd name="connsiteY223" fmla="*/ 2360613 h 3762376"/>
                <a:gd name="connsiteX224" fmla="*/ 4884733 w 6270621"/>
                <a:gd name="connsiteY224" fmla="*/ 2322513 h 3762376"/>
                <a:gd name="connsiteX225" fmla="*/ 4864096 w 6270621"/>
                <a:gd name="connsiteY225" fmla="*/ 2301876 h 3762376"/>
                <a:gd name="connsiteX226" fmla="*/ 4825996 w 6270621"/>
                <a:gd name="connsiteY226" fmla="*/ 2254251 h 3762376"/>
                <a:gd name="connsiteX227" fmla="*/ 5254621 w 6270621"/>
                <a:gd name="connsiteY227" fmla="*/ 2195513 h 3762376"/>
                <a:gd name="connsiteX228" fmla="*/ 5308596 w 6270621"/>
                <a:gd name="connsiteY228" fmla="*/ 2238376 h 3762376"/>
                <a:gd name="connsiteX229" fmla="*/ 5286371 w 6270621"/>
                <a:gd name="connsiteY229" fmla="*/ 2259013 h 3762376"/>
                <a:gd name="connsiteX230" fmla="*/ 5276846 w 6270621"/>
                <a:gd name="connsiteY230" fmla="*/ 2259013 h 3762376"/>
                <a:gd name="connsiteX231" fmla="*/ 5281608 w 6270621"/>
                <a:gd name="connsiteY231" fmla="*/ 2322513 h 3762376"/>
                <a:gd name="connsiteX232" fmla="*/ 5308596 w 6270621"/>
                <a:gd name="connsiteY232" fmla="*/ 2349501 h 3762376"/>
                <a:gd name="connsiteX233" fmla="*/ 5286371 w 6270621"/>
                <a:gd name="connsiteY233" fmla="*/ 2354263 h 3762376"/>
                <a:gd name="connsiteX234" fmla="*/ 5260971 w 6270621"/>
                <a:gd name="connsiteY234" fmla="*/ 2381251 h 3762376"/>
                <a:gd name="connsiteX235" fmla="*/ 5260971 w 6270621"/>
                <a:gd name="connsiteY235" fmla="*/ 2401889 h 3762376"/>
                <a:gd name="connsiteX236" fmla="*/ 5238746 w 6270621"/>
                <a:gd name="connsiteY236" fmla="*/ 2455864 h 3762376"/>
                <a:gd name="connsiteX237" fmla="*/ 5222871 w 6270621"/>
                <a:gd name="connsiteY237" fmla="*/ 2476501 h 3762376"/>
                <a:gd name="connsiteX238" fmla="*/ 5206996 w 6270621"/>
                <a:gd name="connsiteY238" fmla="*/ 2449514 h 3762376"/>
                <a:gd name="connsiteX239" fmla="*/ 5159371 w 6270621"/>
                <a:gd name="connsiteY239" fmla="*/ 2433639 h 3762376"/>
                <a:gd name="connsiteX240" fmla="*/ 5133971 w 6270621"/>
                <a:gd name="connsiteY240" fmla="*/ 2433639 h 3762376"/>
                <a:gd name="connsiteX241" fmla="*/ 5111746 w 6270621"/>
                <a:gd name="connsiteY241" fmla="*/ 2381251 h 3762376"/>
                <a:gd name="connsiteX242" fmla="*/ 5102221 w 6270621"/>
                <a:gd name="connsiteY242" fmla="*/ 2354263 h 3762376"/>
                <a:gd name="connsiteX243" fmla="*/ 5118096 w 6270621"/>
                <a:gd name="connsiteY243" fmla="*/ 2338388 h 3762376"/>
                <a:gd name="connsiteX244" fmla="*/ 5154608 w 6270621"/>
                <a:gd name="connsiteY244" fmla="*/ 2333626 h 3762376"/>
                <a:gd name="connsiteX245" fmla="*/ 5154608 w 6270621"/>
                <a:gd name="connsiteY245" fmla="*/ 2306638 h 3762376"/>
                <a:gd name="connsiteX246" fmla="*/ 5186358 w 6270621"/>
                <a:gd name="connsiteY246" fmla="*/ 2286001 h 3762376"/>
                <a:gd name="connsiteX247" fmla="*/ 5206996 w 6270621"/>
                <a:gd name="connsiteY247" fmla="*/ 2249488 h 3762376"/>
                <a:gd name="connsiteX248" fmla="*/ 5233983 w 6270621"/>
                <a:gd name="connsiteY248" fmla="*/ 2243138 h 3762376"/>
                <a:gd name="connsiteX249" fmla="*/ 5307572 w 6270621"/>
                <a:gd name="connsiteY249" fmla="*/ 1900238 h 3762376"/>
                <a:gd name="connsiteX250" fmla="*/ 5339526 w 6270621"/>
                <a:gd name="connsiteY250" fmla="*/ 1900238 h 3762376"/>
                <a:gd name="connsiteX251" fmla="*/ 5339526 w 6270621"/>
                <a:gd name="connsiteY251" fmla="*/ 1968917 h 3762376"/>
                <a:gd name="connsiteX252" fmla="*/ 5350178 w 6270621"/>
                <a:gd name="connsiteY252" fmla="*/ 2000615 h 3762376"/>
                <a:gd name="connsiteX253" fmla="*/ 5392785 w 6270621"/>
                <a:gd name="connsiteY253" fmla="*/ 2021747 h 3762376"/>
                <a:gd name="connsiteX254" fmla="*/ 5430066 w 6270621"/>
                <a:gd name="connsiteY254" fmla="*/ 2058728 h 3762376"/>
                <a:gd name="connsiteX255" fmla="*/ 5435391 w 6270621"/>
                <a:gd name="connsiteY255" fmla="*/ 2106275 h 3762376"/>
                <a:gd name="connsiteX256" fmla="*/ 5456695 w 6270621"/>
                <a:gd name="connsiteY256" fmla="*/ 2137973 h 3762376"/>
                <a:gd name="connsiteX257" fmla="*/ 5467346 w 6270621"/>
                <a:gd name="connsiteY257" fmla="*/ 2185520 h 3762376"/>
                <a:gd name="connsiteX258" fmla="*/ 5451369 w 6270621"/>
                <a:gd name="connsiteY258" fmla="*/ 2196086 h 3762376"/>
                <a:gd name="connsiteX259" fmla="*/ 5451369 w 6270621"/>
                <a:gd name="connsiteY259" fmla="*/ 2222501 h 3762376"/>
                <a:gd name="connsiteX260" fmla="*/ 5392785 w 6270621"/>
                <a:gd name="connsiteY260" fmla="*/ 2196086 h 3762376"/>
                <a:gd name="connsiteX261" fmla="*/ 5371482 w 6270621"/>
                <a:gd name="connsiteY261" fmla="*/ 2137973 h 3762376"/>
                <a:gd name="connsiteX262" fmla="*/ 5371482 w 6270621"/>
                <a:gd name="connsiteY262" fmla="*/ 2111558 h 3762376"/>
                <a:gd name="connsiteX263" fmla="*/ 5350178 w 6270621"/>
                <a:gd name="connsiteY263" fmla="*/ 2064011 h 3762376"/>
                <a:gd name="connsiteX264" fmla="*/ 5328875 w 6270621"/>
                <a:gd name="connsiteY264" fmla="*/ 2016464 h 3762376"/>
                <a:gd name="connsiteX265" fmla="*/ 5302246 w 6270621"/>
                <a:gd name="connsiteY265" fmla="*/ 1979483 h 3762376"/>
                <a:gd name="connsiteX266" fmla="*/ 5307572 w 6270621"/>
                <a:gd name="connsiteY266" fmla="*/ 1900238 h 3762376"/>
                <a:gd name="connsiteX267" fmla="*/ 5487984 w 6270621"/>
                <a:gd name="connsiteY267" fmla="*/ 1127125 h 3762376"/>
                <a:gd name="connsiteX268" fmla="*/ 5508621 w 6270621"/>
                <a:gd name="connsiteY268" fmla="*/ 1127125 h 3762376"/>
                <a:gd name="connsiteX269" fmla="*/ 5535609 w 6270621"/>
                <a:gd name="connsiteY269" fmla="*/ 1147763 h 3762376"/>
                <a:gd name="connsiteX270" fmla="*/ 5556246 w 6270621"/>
                <a:gd name="connsiteY270" fmla="*/ 1154113 h 3762376"/>
                <a:gd name="connsiteX271" fmla="*/ 5578471 w 6270621"/>
                <a:gd name="connsiteY271" fmla="*/ 1138238 h 3762376"/>
                <a:gd name="connsiteX272" fmla="*/ 5587996 w 6270621"/>
                <a:gd name="connsiteY272" fmla="*/ 1131888 h 3762376"/>
                <a:gd name="connsiteX273" fmla="*/ 5587996 w 6270621"/>
                <a:gd name="connsiteY273" fmla="*/ 1158875 h 3762376"/>
                <a:gd name="connsiteX274" fmla="*/ 5587996 w 6270621"/>
                <a:gd name="connsiteY274" fmla="*/ 1185863 h 3762376"/>
                <a:gd name="connsiteX275" fmla="*/ 5546721 w 6270621"/>
                <a:gd name="connsiteY275" fmla="*/ 1195388 h 3762376"/>
                <a:gd name="connsiteX276" fmla="*/ 5556246 w 6270621"/>
                <a:gd name="connsiteY276" fmla="*/ 1217613 h 3762376"/>
                <a:gd name="connsiteX277" fmla="*/ 5556246 w 6270621"/>
                <a:gd name="connsiteY277" fmla="*/ 1227138 h 3762376"/>
                <a:gd name="connsiteX278" fmla="*/ 5514971 w 6270621"/>
                <a:gd name="connsiteY278" fmla="*/ 1206500 h 3762376"/>
                <a:gd name="connsiteX279" fmla="*/ 5508621 w 6270621"/>
                <a:gd name="connsiteY279" fmla="*/ 1227138 h 3762376"/>
                <a:gd name="connsiteX280" fmla="*/ 5535609 w 6270621"/>
                <a:gd name="connsiteY280" fmla="*/ 1243013 h 3762376"/>
                <a:gd name="connsiteX281" fmla="*/ 5535609 w 6270621"/>
                <a:gd name="connsiteY281" fmla="*/ 1265238 h 3762376"/>
                <a:gd name="connsiteX282" fmla="*/ 5567359 w 6270621"/>
                <a:gd name="connsiteY282" fmla="*/ 1312863 h 3762376"/>
                <a:gd name="connsiteX283" fmla="*/ 5567359 w 6270621"/>
                <a:gd name="connsiteY283" fmla="*/ 1338263 h 3762376"/>
                <a:gd name="connsiteX284" fmla="*/ 5578471 w 6270621"/>
                <a:gd name="connsiteY284" fmla="*/ 1417638 h 3762376"/>
                <a:gd name="connsiteX285" fmla="*/ 5535609 w 6270621"/>
                <a:gd name="connsiteY285" fmla="*/ 1460501 h 3762376"/>
                <a:gd name="connsiteX286" fmla="*/ 5472109 w 6270621"/>
                <a:gd name="connsiteY286" fmla="*/ 1497013 h 3762376"/>
                <a:gd name="connsiteX287" fmla="*/ 5440359 w 6270621"/>
                <a:gd name="connsiteY287" fmla="*/ 1512888 h 3762376"/>
                <a:gd name="connsiteX288" fmla="*/ 5440359 w 6270621"/>
                <a:gd name="connsiteY288" fmla="*/ 1544638 h 3762376"/>
                <a:gd name="connsiteX289" fmla="*/ 5424484 w 6270621"/>
                <a:gd name="connsiteY289" fmla="*/ 1560513 h 3762376"/>
                <a:gd name="connsiteX290" fmla="*/ 5403847 w 6270621"/>
                <a:gd name="connsiteY290" fmla="*/ 1535113 h 3762376"/>
                <a:gd name="connsiteX291" fmla="*/ 5392734 w 6270621"/>
                <a:gd name="connsiteY291" fmla="*/ 1503363 h 3762376"/>
                <a:gd name="connsiteX292" fmla="*/ 5413372 w 6270621"/>
                <a:gd name="connsiteY292" fmla="*/ 1497013 h 3762376"/>
                <a:gd name="connsiteX293" fmla="*/ 5403847 w 6270621"/>
                <a:gd name="connsiteY293" fmla="*/ 1476376 h 3762376"/>
                <a:gd name="connsiteX294" fmla="*/ 5419722 w 6270621"/>
                <a:gd name="connsiteY294" fmla="*/ 1449388 h 3762376"/>
                <a:gd name="connsiteX295" fmla="*/ 5435597 w 6270621"/>
                <a:gd name="connsiteY295" fmla="*/ 1433513 h 3762376"/>
                <a:gd name="connsiteX296" fmla="*/ 5483222 w 6270621"/>
                <a:gd name="connsiteY296" fmla="*/ 1423988 h 3762376"/>
                <a:gd name="connsiteX297" fmla="*/ 5492746 w 6270621"/>
                <a:gd name="connsiteY297" fmla="*/ 1385888 h 3762376"/>
                <a:gd name="connsiteX298" fmla="*/ 5524496 w 6270621"/>
                <a:gd name="connsiteY298" fmla="*/ 1365250 h 3762376"/>
                <a:gd name="connsiteX299" fmla="*/ 5524496 w 6270621"/>
                <a:gd name="connsiteY299" fmla="*/ 1290638 h 3762376"/>
                <a:gd name="connsiteX300" fmla="*/ 5508621 w 6270621"/>
                <a:gd name="connsiteY300" fmla="*/ 1243013 h 3762376"/>
                <a:gd name="connsiteX301" fmla="*/ 5476872 w 6270621"/>
                <a:gd name="connsiteY301" fmla="*/ 1217613 h 3762376"/>
                <a:gd name="connsiteX302" fmla="*/ 5487984 w 6270621"/>
                <a:gd name="connsiteY302" fmla="*/ 1195388 h 3762376"/>
                <a:gd name="connsiteX303" fmla="*/ 5503859 w 6270621"/>
                <a:gd name="connsiteY303" fmla="*/ 1169988 h 3762376"/>
                <a:gd name="connsiteX304" fmla="*/ 2757484 w 6270621"/>
                <a:gd name="connsiteY304" fmla="*/ 1106488 h 3762376"/>
                <a:gd name="connsiteX305" fmla="*/ 2767009 w 6270621"/>
                <a:gd name="connsiteY305" fmla="*/ 1127126 h 3762376"/>
                <a:gd name="connsiteX306" fmla="*/ 2762246 w 6270621"/>
                <a:gd name="connsiteY306" fmla="*/ 1174751 h 3762376"/>
                <a:gd name="connsiteX307" fmla="*/ 2735259 w 6270621"/>
                <a:gd name="connsiteY307" fmla="*/ 1201739 h 3762376"/>
                <a:gd name="connsiteX308" fmla="*/ 2698747 w 6270621"/>
                <a:gd name="connsiteY308" fmla="*/ 1206501 h 3762376"/>
                <a:gd name="connsiteX309" fmla="*/ 2678109 w 6270621"/>
                <a:gd name="connsiteY309" fmla="*/ 1195389 h 3762376"/>
                <a:gd name="connsiteX310" fmla="*/ 2703509 w 6270621"/>
                <a:gd name="connsiteY310" fmla="*/ 1158876 h 3762376"/>
                <a:gd name="connsiteX311" fmla="*/ 2687634 w 6270621"/>
                <a:gd name="connsiteY311" fmla="*/ 1138238 h 3762376"/>
                <a:gd name="connsiteX312" fmla="*/ 2698747 w 6270621"/>
                <a:gd name="connsiteY312" fmla="*/ 1127126 h 3762376"/>
                <a:gd name="connsiteX313" fmla="*/ 2719384 w 6270621"/>
                <a:gd name="connsiteY313" fmla="*/ 1138238 h 3762376"/>
                <a:gd name="connsiteX314" fmla="*/ 2719384 w 6270621"/>
                <a:gd name="connsiteY314" fmla="*/ 1116013 h 3762376"/>
                <a:gd name="connsiteX315" fmla="*/ 5365746 w 6270621"/>
                <a:gd name="connsiteY315" fmla="*/ 825500 h 3762376"/>
                <a:gd name="connsiteX316" fmla="*/ 5376859 w 6270621"/>
                <a:gd name="connsiteY316" fmla="*/ 825500 h 3762376"/>
                <a:gd name="connsiteX317" fmla="*/ 5381621 w 6270621"/>
                <a:gd name="connsiteY317" fmla="*/ 841375 h 3762376"/>
                <a:gd name="connsiteX318" fmla="*/ 5403846 w 6270621"/>
                <a:gd name="connsiteY318" fmla="*/ 862013 h 3762376"/>
                <a:gd name="connsiteX319" fmla="*/ 5419721 w 6270621"/>
                <a:gd name="connsiteY319" fmla="*/ 900113 h 3762376"/>
                <a:gd name="connsiteX320" fmla="*/ 5456234 w 6270621"/>
                <a:gd name="connsiteY320" fmla="*/ 957263 h 3762376"/>
                <a:gd name="connsiteX321" fmla="*/ 5483221 w 6270621"/>
                <a:gd name="connsiteY321" fmla="*/ 995363 h 3762376"/>
                <a:gd name="connsiteX322" fmla="*/ 5456234 w 6270621"/>
                <a:gd name="connsiteY322" fmla="*/ 984250 h 3762376"/>
                <a:gd name="connsiteX323" fmla="*/ 5472109 w 6270621"/>
                <a:gd name="connsiteY323" fmla="*/ 1031876 h 3762376"/>
                <a:gd name="connsiteX324" fmla="*/ 5499096 w 6270621"/>
                <a:gd name="connsiteY324" fmla="*/ 1079501 h 3762376"/>
                <a:gd name="connsiteX325" fmla="*/ 5492746 w 6270621"/>
                <a:gd name="connsiteY325" fmla="*/ 1106488 h 3762376"/>
                <a:gd name="connsiteX326" fmla="*/ 5472109 w 6270621"/>
                <a:gd name="connsiteY326" fmla="*/ 1074738 h 3762376"/>
                <a:gd name="connsiteX327" fmla="*/ 5467346 w 6270621"/>
                <a:gd name="connsiteY327" fmla="*/ 1042988 h 3762376"/>
                <a:gd name="connsiteX328" fmla="*/ 5440359 w 6270621"/>
                <a:gd name="connsiteY328" fmla="*/ 1004888 h 3762376"/>
                <a:gd name="connsiteX329" fmla="*/ 5419721 w 6270621"/>
                <a:gd name="connsiteY329" fmla="*/ 973138 h 3762376"/>
                <a:gd name="connsiteX330" fmla="*/ 5419721 w 6270621"/>
                <a:gd name="connsiteY330" fmla="*/ 947738 h 3762376"/>
                <a:gd name="connsiteX331" fmla="*/ 5408609 w 6270621"/>
                <a:gd name="connsiteY331" fmla="*/ 925513 h 3762376"/>
                <a:gd name="connsiteX332" fmla="*/ 5381621 w 6270621"/>
                <a:gd name="connsiteY332" fmla="*/ 884238 h 3762376"/>
                <a:gd name="connsiteX333" fmla="*/ 5376859 w 6270621"/>
                <a:gd name="connsiteY333" fmla="*/ 857250 h 3762376"/>
                <a:gd name="connsiteX334" fmla="*/ 5365746 w 6270621"/>
                <a:gd name="connsiteY334" fmla="*/ 846138 h 3762376"/>
                <a:gd name="connsiteX335" fmla="*/ 3243900 w 6270621"/>
                <a:gd name="connsiteY335" fmla="*/ 783040 h 3762376"/>
                <a:gd name="connsiteX336" fmla="*/ 3217437 w 6270621"/>
                <a:gd name="connsiteY336" fmla="*/ 804204 h 3762376"/>
                <a:gd name="connsiteX337" fmla="*/ 3212145 w 6270621"/>
                <a:gd name="connsiteY337" fmla="*/ 841239 h 3762376"/>
                <a:gd name="connsiteX338" fmla="*/ 3190975 w 6270621"/>
                <a:gd name="connsiteY338" fmla="*/ 867693 h 3762376"/>
                <a:gd name="connsiteX339" fmla="*/ 3153927 w 6270621"/>
                <a:gd name="connsiteY339" fmla="*/ 894147 h 3762376"/>
                <a:gd name="connsiteX340" fmla="*/ 3153927 w 6270621"/>
                <a:gd name="connsiteY340" fmla="*/ 936473 h 3762376"/>
                <a:gd name="connsiteX341" fmla="*/ 3185682 w 6270621"/>
                <a:gd name="connsiteY341" fmla="*/ 957636 h 3762376"/>
                <a:gd name="connsiteX342" fmla="*/ 3190975 w 6270621"/>
                <a:gd name="connsiteY342" fmla="*/ 984090 h 3762376"/>
                <a:gd name="connsiteX343" fmla="*/ 3159220 w 6270621"/>
                <a:gd name="connsiteY343" fmla="*/ 1010543 h 3762376"/>
                <a:gd name="connsiteX344" fmla="*/ 3169805 w 6270621"/>
                <a:gd name="connsiteY344" fmla="*/ 1058160 h 3762376"/>
                <a:gd name="connsiteX345" fmla="*/ 3148635 w 6270621"/>
                <a:gd name="connsiteY345" fmla="*/ 1079323 h 3762376"/>
                <a:gd name="connsiteX346" fmla="*/ 3122173 w 6270621"/>
                <a:gd name="connsiteY346" fmla="*/ 1095196 h 3762376"/>
                <a:gd name="connsiteX347" fmla="*/ 3095710 w 6270621"/>
                <a:gd name="connsiteY347" fmla="*/ 1111068 h 3762376"/>
                <a:gd name="connsiteX348" fmla="*/ 3085125 w 6270621"/>
                <a:gd name="connsiteY348" fmla="*/ 1132231 h 3762376"/>
                <a:gd name="connsiteX349" fmla="*/ 3111587 w 6270621"/>
                <a:gd name="connsiteY349" fmla="*/ 1137522 h 3762376"/>
                <a:gd name="connsiteX350" fmla="*/ 3127465 w 6270621"/>
                <a:gd name="connsiteY350" fmla="*/ 1148103 h 3762376"/>
                <a:gd name="connsiteX351" fmla="*/ 3169805 w 6270621"/>
                <a:gd name="connsiteY351" fmla="*/ 1121649 h 3762376"/>
                <a:gd name="connsiteX352" fmla="*/ 3196267 w 6270621"/>
                <a:gd name="connsiteY352" fmla="*/ 1105777 h 3762376"/>
                <a:gd name="connsiteX353" fmla="*/ 3206852 w 6270621"/>
                <a:gd name="connsiteY353" fmla="*/ 1126940 h 3762376"/>
                <a:gd name="connsiteX354" fmla="*/ 3228022 w 6270621"/>
                <a:gd name="connsiteY354" fmla="*/ 1116359 h 3762376"/>
                <a:gd name="connsiteX355" fmla="*/ 3243900 w 6270621"/>
                <a:gd name="connsiteY355" fmla="*/ 1100486 h 3762376"/>
                <a:gd name="connsiteX356" fmla="*/ 3233315 w 6270621"/>
                <a:gd name="connsiteY356" fmla="*/ 1063451 h 3762376"/>
                <a:gd name="connsiteX357" fmla="*/ 3259777 w 6270621"/>
                <a:gd name="connsiteY357" fmla="*/ 1031706 h 3762376"/>
                <a:gd name="connsiteX358" fmla="*/ 3270362 w 6270621"/>
                <a:gd name="connsiteY358" fmla="*/ 1058160 h 3762376"/>
                <a:gd name="connsiteX359" fmla="*/ 3286240 w 6270621"/>
                <a:gd name="connsiteY359" fmla="*/ 1058160 h 3762376"/>
                <a:gd name="connsiteX360" fmla="*/ 3286240 w 6270621"/>
                <a:gd name="connsiteY360" fmla="*/ 1010543 h 3762376"/>
                <a:gd name="connsiteX361" fmla="*/ 3270362 w 6270621"/>
                <a:gd name="connsiteY361" fmla="*/ 1010543 h 3762376"/>
                <a:gd name="connsiteX362" fmla="*/ 3265070 w 6270621"/>
                <a:gd name="connsiteY362" fmla="*/ 994671 h 3762376"/>
                <a:gd name="connsiteX363" fmla="*/ 3286240 w 6270621"/>
                <a:gd name="connsiteY363" fmla="*/ 978799 h 3762376"/>
                <a:gd name="connsiteX364" fmla="*/ 3328580 w 6270621"/>
                <a:gd name="connsiteY364" fmla="*/ 978799 h 3762376"/>
                <a:gd name="connsiteX365" fmla="*/ 3381504 w 6270621"/>
                <a:gd name="connsiteY365" fmla="*/ 957636 h 3762376"/>
                <a:gd name="connsiteX366" fmla="*/ 3339165 w 6270621"/>
                <a:gd name="connsiteY366" fmla="*/ 936473 h 3762376"/>
                <a:gd name="connsiteX367" fmla="*/ 3307410 w 6270621"/>
                <a:gd name="connsiteY367" fmla="*/ 941764 h 3762376"/>
                <a:gd name="connsiteX368" fmla="*/ 3270362 w 6270621"/>
                <a:gd name="connsiteY368" fmla="*/ 962927 h 3762376"/>
                <a:gd name="connsiteX369" fmla="*/ 3238607 w 6270621"/>
                <a:gd name="connsiteY369" fmla="*/ 952345 h 3762376"/>
                <a:gd name="connsiteX370" fmla="*/ 3233315 w 6270621"/>
                <a:gd name="connsiteY370" fmla="*/ 915310 h 3762376"/>
                <a:gd name="connsiteX371" fmla="*/ 3222730 w 6270621"/>
                <a:gd name="connsiteY371" fmla="*/ 878274 h 3762376"/>
                <a:gd name="connsiteX372" fmla="*/ 3233315 w 6270621"/>
                <a:gd name="connsiteY372" fmla="*/ 862402 h 3762376"/>
                <a:gd name="connsiteX373" fmla="*/ 3270362 w 6270621"/>
                <a:gd name="connsiteY373" fmla="*/ 814785 h 3762376"/>
                <a:gd name="connsiteX374" fmla="*/ 3270362 w 6270621"/>
                <a:gd name="connsiteY374" fmla="*/ 788331 h 3762376"/>
                <a:gd name="connsiteX375" fmla="*/ 3265070 w 6270621"/>
                <a:gd name="connsiteY375" fmla="*/ 783040 h 3762376"/>
                <a:gd name="connsiteX376" fmla="*/ 3243900 w 6270621"/>
                <a:gd name="connsiteY376" fmla="*/ 783040 h 3762376"/>
                <a:gd name="connsiteX377" fmla="*/ 1528761 w 6270621"/>
                <a:gd name="connsiteY377" fmla="*/ 671513 h 3762376"/>
                <a:gd name="connsiteX378" fmla="*/ 1571094 w 6270621"/>
                <a:gd name="connsiteY378" fmla="*/ 703450 h 3762376"/>
                <a:gd name="connsiteX379" fmla="*/ 1571094 w 6270621"/>
                <a:gd name="connsiteY379" fmla="*/ 719418 h 3762376"/>
                <a:gd name="connsiteX380" fmla="*/ 1592261 w 6270621"/>
                <a:gd name="connsiteY380" fmla="*/ 751355 h 3762376"/>
                <a:gd name="connsiteX381" fmla="*/ 1565803 w 6270621"/>
                <a:gd name="connsiteY381" fmla="*/ 756678 h 3762376"/>
                <a:gd name="connsiteX382" fmla="*/ 1549927 w 6270621"/>
                <a:gd name="connsiteY382" fmla="*/ 740710 h 3762376"/>
                <a:gd name="connsiteX383" fmla="*/ 1539344 w 6270621"/>
                <a:gd name="connsiteY383" fmla="*/ 730064 h 3762376"/>
                <a:gd name="connsiteX384" fmla="*/ 1518178 w 6270621"/>
                <a:gd name="connsiteY384" fmla="*/ 751355 h 3762376"/>
                <a:gd name="connsiteX385" fmla="*/ 1497011 w 6270621"/>
                <a:gd name="connsiteY385" fmla="*/ 762001 h 3762376"/>
                <a:gd name="connsiteX386" fmla="*/ 1497011 w 6270621"/>
                <a:gd name="connsiteY386" fmla="*/ 746032 h 3762376"/>
                <a:gd name="connsiteX387" fmla="*/ 1481136 w 6270621"/>
                <a:gd name="connsiteY387" fmla="*/ 735387 h 3762376"/>
                <a:gd name="connsiteX388" fmla="*/ 1528761 w 6270621"/>
                <a:gd name="connsiteY388" fmla="*/ 671513 h 3762376"/>
                <a:gd name="connsiteX389" fmla="*/ 1708147 w 6270621"/>
                <a:gd name="connsiteY389" fmla="*/ 614363 h 3762376"/>
                <a:gd name="connsiteX390" fmla="*/ 1719260 w 6270621"/>
                <a:gd name="connsiteY390" fmla="*/ 623888 h 3762376"/>
                <a:gd name="connsiteX391" fmla="*/ 1708147 w 6270621"/>
                <a:gd name="connsiteY391" fmla="*/ 639763 h 3762376"/>
                <a:gd name="connsiteX392" fmla="*/ 1692272 w 6270621"/>
                <a:gd name="connsiteY392" fmla="*/ 650876 h 3762376"/>
                <a:gd name="connsiteX393" fmla="*/ 1676398 w 6270621"/>
                <a:gd name="connsiteY393" fmla="*/ 646113 h 3762376"/>
                <a:gd name="connsiteX394" fmla="*/ 1682748 w 6270621"/>
                <a:gd name="connsiteY394" fmla="*/ 619125 h 3762376"/>
                <a:gd name="connsiteX395" fmla="*/ 1385886 w 6270621"/>
                <a:gd name="connsiteY395" fmla="*/ 487363 h 3762376"/>
                <a:gd name="connsiteX396" fmla="*/ 1406523 w 6270621"/>
                <a:gd name="connsiteY396" fmla="*/ 508000 h 3762376"/>
                <a:gd name="connsiteX397" fmla="*/ 1406523 w 6270621"/>
                <a:gd name="connsiteY397" fmla="*/ 534988 h 3762376"/>
                <a:gd name="connsiteX398" fmla="*/ 1354137 w 6270621"/>
                <a:gd name="connsiteY398" fmla="*/ 508000 h 3762376"/>
                <a:gd name="connsiteX399" fmla="*/ 1619249 w 6270621"/>
                <a:gd name="connsiteY399" fmla="*/ 385763 h 3762376"/>
                <a:gd name="connsiteX400" fmla="*/ 1645707 w 6270621"/>
                <a:gd name="connsiteY400" fmla="*/ 385763 h 3762376"/>
                <a:gd name="connsiteX401" fmla="*/ 1608666 w 6270621"/>
                <a:gd name="connsiteY401" fmla="*/ 412221 h 3762376"/>
                <a:gd name="connsiteX402" fmla="*/ 1598083 w 6270621"/>
                <a:gd name="connsiteY402" fmla="*/ 459846 h 3762376"/>
                <a:gd name="connsiteX403" fmla="*/ 1619249 w 6270621"/>
                <a:gd name="connsiteY403" fmla="*/ 470430 h 3762376"/>
                <a:gd name="connsiteX404" fmla="*/ 1629832 w 6270621"/>
                <a:gd name="connsiteY404" fmla="*/ 417513 h 3762376"/>
                <a:gd name="connsiteX405" fmla="*/ 1677457 w 6270621"/>
                <a:gd name="connsiteY405" fmla="*/ 401638 h 3762376"/>
                <a:gd name="connsiteX406" fmla="*/ 1693332 w 6270621"/>
                <a:gd name="connsiteY406" fmla="*/ 417513 h 3762376"/>
                <a:gd name="connsiteX407" fmla="*/ 1735665 w 6270621"/>
                <a:gd name="connsiteY407" fmla="*/ 422805 h 3762376"/>
                <a:gd name="connsiteX408" fmla="*/ 1751541 w 6270621"/>
                <a:gd name="connsiteY408" fmla="*/ 470430 h 3762376"/>
                <a:gd name="connsiteX409" fmla="*/ 1783291 w 6270621"/>
                <a:gd name="connsiteY409" fmla="*/ 518055 h 3762376"/>
                <a:gd name="connsiteX410" fmla="*/ 1846791 w 6270621"/>
                <a:gd name="connsiteY410" fmla="*/ 576263 h 3762376"/>
                <a:gd name="connsiteX411" fmla="*/ 1841499 w 6270621"/>
                <a:gd name="connsiteY411" fmla="*/ 618596 h 3762376"/>
                <a:gd name="connsiteX412" fmla="*/ 1852083 w 6270621"/>
                <a:gd name="connsiteY412" fmla="*/ 634471 h 3762376"/>
                <a:gd name="connsiteX413" fmla="*/ 1889121 w 6270621"/>
                <a:gd name="connsiteY413" fmla="*/ 682096 h 3762376"/>
                <a:gd name="connsiteX414" fmla="*/ 1920871 w 6270621"/>
                <a:gd name="connsiteY414" fmla="*/ 687388 h 3762376"/>
                <a:gd name="connsiteX415" fmla="*/ 1894413 w 6270621"/>
                <a:gd name="connsiteY415" fmla="*/ 729721 h 3762376"/>
                <a:gd name="connsiteX416" fmla="*/ 1862666 w 6270621"/>
                <a:gd name="connsiteY416" fmla="*/ 756180 h 3762376"/>
                <a:gd name="connsiteX417" fmla="*/ 1852083 w 6270621"/>
                <a:gd name="connsiteY417" fmla="*/ 729721 h 3762376"/>
                <a:gd name="connsiteX418" fmla="*/ 1825624 w 6270621"/>
                <a:gd name="connsiteY418" fmla="*/ 697971 h 3762376"/>
                <a:gd name="connsiteX419" fmla="*/ 1804457 w 6270621"/>
                <a:gd name="connsiteY419" fmla="*/ 724430 h 3762376"/>
                <a:gd name="connsiteX420" fmla="*/ 1841499 w 6270621"/>
                <a:gd name="connsiteY420" fmla="*/ 772055 h 3762376"/>
                <a:gd name="connsiteX421" fmla="*/ 1841499 w 6270621"/>
                <a:gd name="connsiteY421" fmla="*/ 803805 h 3762376"/>
                <a:gd name="connsiteX422" fmla="*/ 1815041 w 6270621"/>
                <a:gd name="connsiteY422" fmla="*/ 824971 h 3762376"/>
                <a:gd name="connsiteX423" fmla="*/ 1793874 w 6270621"/>
                <a:gd name="connsiteY423" fmla="*/ 793221 h 3762376"/>
                <a:gd name="connsiteX424" fmla="*/ 1772708 w 6270621"/>
                <a:gd name="connsiteY424" fmla="*/ 787930 h 3762376"/>
                <a:gd name="connsiteX425" fmla="*/ 1804457 w 6270621"/>
                <a:gd name="connsiteY425" fmla="*/ 846138 h 3762376"/>
                <a:gd name="connsiteX426" fmla="*/ 1788583 w 6270621"/>
                <a:gd name="connsiteY426" fmla="*/ 846138 h 3762376"/>
                <a:gd name="connsiteX427" fmla="*/ 1730374 w 6270621"/>
                <a:gd name="connsiteY427" fmla="*/ 809096 h 3762376"/>
                <a:gd name="connsiteX428" fmla="*/ 1703916 w 6270621"/>
                <a:gd name="connsiteY428" fmla="*/ 761471 h 3762376"/>
                <a:gd name="connsiteX429" fmla="*/ 1682749 w 6270621"/>
                <a:gd name="connsiteY429" fmla="*/ 735013 h 3762376"/>
                <a:gd name="connsiteX430" fmla="*/ 1640416 w 6270621"/>
                <a:gd name="connsiteY430" fmla="*/ 756180 h 3762376"/>
                <a:gd name="connsiteX431" fmla="*/ 1629832 w 6270621"/>
                <a:gd name="connsiteY431" fmla="*/ 729721 h 3762376"/>
                <a:gd name="connsiteX432" fmla="*/ 1656291 w 6270621"/>
                <a:gd name="connsiteY432" fmla="*/ 713846 h 3762376"/>
                <a:gd name="connsiteX433" fmla="*/ 1698624 w 6270621"/>
                <a:gd name="connsiteY433" fmla="*/ 713846 h 3762376"/>
                <a:gd name="connsiteX434" fmla="*/ 1709208 w 6270621"/>
                <a:gd name="connsiteY434" fmla="*/ 687388 h 3762376"/>
                <a:gd name="connsiteX435" fmla="*/ 1751541 w 6270621"/>
                <a:gd name="connsiteY435" fmla="*/ 660930 h 3762376"/>
                <a:gd name="connsiteX436" fmla="*/ 1751541 w 6270621"/>
                <a:gd name="connsiteY436" fmla="*/ 629180 h 3762376"/>
                <a:gd name="connsiteX437" fmla="*/ 1714499 w 6270621"/>
                <a:gd name="connsiteY437" fmla="*/ 570971 h 3762376"/>
                <a:gd name="connsiteX438" fmla="*/ 1693332 w 6270621"/>
                <a:gd name="connsiteY438" fmla="*/ 533930 h 3762376"/>
                <a:gd name="connsiteX439" fmla="*/ 1645707 w 6270621"/>
                <a:gd name="connsiteY439" fmla="*/ 539221 h 3762376"/>
                <a:gd name="connsiteX440" fmla="*/ 1576916 w 6270621"/>
                <a:gd name="connsiteY440" fmla="*/ 507471 h 3762376"/>
                <a:gd name="connsiteX441" fmla="*/ 1539874 w 6270621"/>
                <a:gd name="connsiteY441" fmla="*/ 496888 h 3762376"/>
                <a:gd name="connsiteX442" fmla="*/ 1539874 w 6270621"/>
                <a:gd name="connsiteY442" fmla="*/ 465138 h 3762376"/>
                <a:gd name="connsiteX443" fmla="*/ 1555749 w 6270621"/>
                <a:gd name="connsiteY443" fmla="*/ 412221 h 3762376"/>
                <a:gd name="connsiteX444" fmla="*/ 1619249 w 6270621"/>
                <a:gd name="connsiteY444" fmla="*/ 385763 h 3762376"/>
                <a:gd name="connsiteX445" fmla="*/ 1517649 w 6270621"/>
                <a:gd name="connsiteY445" fmla="*/ 349250 h 3762376"/>
                <a:gd name="connsiteX446" fmla="*/ 1571623 w 6270621"/>
                <a:gd name="connsiteY446" fmla="*/ 365125 h 3762376"/>
                <a:gd name="connsiteX447" fmla="*/ 1539874 w 6270621"/>
                <a:gd name="connsiteY447" fmla="*/ 396875 h 3762376"/>
                <a:gd name="connsiteX448" fmla="*/ 1501774 w 6270621"/>
                <a:gd name="connsiteY448" fmla="*/ 407988 h 3762376"/>
                <a:gd name="connsiteX449" fmla="*/ 1481136 w 6270621"/>
                <a:gd name="connsiteY449" fmla="*/ 407988 h 3762376"/>
                <a:gd name="connsiteX450" fmla="*/ 1470024 w 6270621"/>
                <a:gd name="connsiteY450" fmla="*/ 385763 h 3762376"/>
                <a:gd name="connsiteX451" fmla="*/ 1476374 w 6270621"/>
                <a:gd name="connsiteY451" fmla="*/ 365125 h 3762376"/>
                <a:gd name="connsiteX452" fmla="*/ 1412345 w 6270621"/>
                <a:gd name="connsiteY452" fmla="*/ 328613 h 3762376"/>
                <a:gd name="connsiteX453" fmla="*/ 1459970 w 6270621"/>
                <a:gd name="connsiteY453" fmla="*/ 328613 h 3762376"/>
                <a:gd name="connsiteX454" fmla="*/ 1465262 w 6270621"/>
                <a:gd name="connsiteY454" fmla="*/ 354807 h 3762376"/>
                <a:gd name="connsiteX455" fmla="*/ 1438803 w 6270621"/>
                <a:gd name="connsiteY455" fmla="*/ 360045 h 3762376"/>
                <a:gd name="connsiteX456" fmla="*/ 1444095 w 6270621"/>
                <a:gd name="connsiteY456" fmla="*/ 401955 h 3762376"/>
                <a:gd name="connsiteX457" fmla="*/ 1428220 w 6270621"/>
                <a:gd name="connsiteY457" fmla="*/ 412433 h 3762376"/>
                <a:gd name="connsiteX458" fmla="*/ 1396470 w 6270621"/>
                <a:gd name="connsiteY458" fmla="*/ 428149 h 3762376"/>
                <a:gd name="connsiteX459" fmla="*/ 1391178 w 6270621"/>
                <a:gd name="connsiteY459" fmla="*/ 401955 h 3762376"/>
                <a:gd name="connsiteX460" fmla="*/ 1370012 w 6270621"/>
                <a:gd name="connsiteY460" fmla="*/ 381000 h 3762376"/>
                <a:gd name="connsiteX461" fmla="*/ 1375303 w 6270621"/>
                <a:gd name="connsiteY461" fmla="*/ 354807 h 3762376"/>
                <a:gd name="connsiteX462" fmla="*/ 1396470 w 6270621"/>
                <a:gd name="connsiteY462" fmla="*/ 354807 h 3762376"/>
                <a:gd name="connsiteX463" fmla="*/ 1412345 w 6270621"/>
                <a:gd name="connsiteY463" fmla="*/ 328613 h 3762376"/>
                <a:gd name="connsiteX464" fmla="*/ 1343023 w 6270621"/>
                <a:gd name="connsiteY464" fmla="*/ 301625 h 3762376"/>
                <a:gd name="connsiteX465" fmla="*/ 1358898 w 6270621"/>
                <a:gd name="connsiteY465" fmla="*/ 312738 h 3762376"/>
                <a:gd name="connsiteX466" fmla="*/ 1338260 w 6270621"/>
                <a:gd name="connsiteY466" fmla="*/ 333375 h 3762376"/>
                <a:gd name="connsiteX467" fmla="*/ 1317623 w 6270621"/>
                <a:gd name="connsiteY467" fmla="*/ 306388 h 3762376"/>
                <a:gd name="connsiteX468" fmla="*/ 1512885 w 6270621"/>
                <a:gd name="connsiteY468" fmla="*/ 285750 h 3762376"/>
                <a:gd name="connsiteX469" fmla="*/ 1533523 w 6270621"/>
                <a:gd name="connsiteY469" fmla="*/ 301625 h 3762376"/>
                <a:gd name="connsiteX470" fmla="*/ 1528364 w 6270621"/>
                <a:gd name="connsiteY470" fmla="*/ 328083 h 3762376"/>
                <a:gd name="connsiteX471" fmla="*/ 1502567 w 6270621"/>
                <a:gd name="connsiteY471" fmla="*/ 317500 h 3762376"/>
                <a:gd name="connsiteX472" fmla="*/ 1492248 w 6270621"/>
                <a:gd name="connsiteY472" fmla="*/ 301625 h 3762376"/>
                <a:gd name="connsiteX473" fmla="*/ 1512885 w 6270621"/>
                <a:gd name="connsiteY473" fmla="*/ 285750 h 3762376"/>
                <a:gd name="connsiteX474" fmla="*/ 1476373 w 6270621"/>
                <a:gd name="connsiteY474" fmla="*/ 227013 h 3762376"/>
                <a:gd name="connsiteX475" fmla="*/ 1492248 w 6270621"/>
                <a:gd name="connsiteY475" fmla="*/ 238126 h 3762376"/>
                <a:gd name="connsiteX476" fmla="*/ 1497011 w 6270621"/>
                <a:gd name="connsiteY476" fmla="*/ 258763 h 3762376"/>
                <a:gd name="connsiteX477" fmla="*/ 1485898 w 6270621"/>
                <a:gd name="connsiteY477" fmla="*/ 285751 h 3762376"/>
                <a:gd name="connsiteX478" fmla="*/ 1470023 w 6270621"/>
                <a:gd name="connsiteY478" fmla="*/ 301626 h 3762376"/>
                <a:gd name="connsiteX479" fmla="*/ 1438273 w 6270621"/>
                <a:gd name="connsiteY479" fmla="*/ 290514 h 3762376"/>
                <a:gd name="connsiteX480" fmla="*/ 1449386 w 6270621"/>
                <a:gd name="connsiteY480" fmla="*/ 265113 h 3762376"/>
                <a:gd name="connsiteX481" fmla="*/ 1449386 w 6270621"/>
                <a:gd name="connsiteY481" fmla="*/ 238126 h 3762376"/>
                <a:gd name="connsiteX482" fmla="*/ 1068915 w 6270621"/>
                <a:gd name="connsiteY482" fmla="*/ 201613 h 3762376"/>
                <a:gd name="connsiteX483" fmla="*/ 1116540 w 6270621"/>
                <a:gd name="connsiteY483" fmla="*/ 201613 h 3762376"/>
                <a:gd name="connsiteX484" fmla="*/ 1132415 w 6270621"/>
                <a:gd name="connsiteY484" fmla="*/ 233250 h 3762376"/>
                <a:gd name="connsiteX485" fmla="*/ 1158874 w 6270621"/>
                <a:gd name="connsiteY485" fmla="*/ 227977 h 3762376"/>
                <a:gd name="connsiteX486" fmla="*/ 1190624 w 6270621"/>
                <a:gd name="connsiteY486" fmla="*/ 259614 h 3762376"/>
                <a:gd name="connsiteX487" fmla="*/ 1201207 w 6270621"/>
                <a:gd name="connsiteY487" fmla="*/ 285978 h 3762376"/>
                <a:gd name="connsiteX488" fmla="*/ 1201207 w 6270621"/>
                <a:gd name="connsiteY488" fmla="*/ 307068 h 3762376"/>
                <a:gd name="connsiteX489" fmla="*/ 1238249 w 6270621"/>
                <a:gd name="connsiteY489" fmla="*/ 312341 h 3762376"/>
                <a:gd name="connsiteX490" fmla="*/ 1259415 w 6270621"/>
                <a:gd name="connsiteY490" fmla="*/ 317614 h 3762376"/>
                <a:gd name="connsiteX491" fmla="*/ 1264707 w 6270621"/>
                <a:gd name="connsiteY491" fmla="*/ 354523 h 3762376"/>
                <a:gd name="connsiteX492" fmla="*/ 1280582 w 6270621"/>
                <a:gd name="connsiteY492" fmla="*/ 365069 h 3762376"/>
                <a:gd name="connsiteX493" fmla="*/ 1280582 w 6270621"/>
                <a:gd name="connsiteY493" fmla="*/ 338705 h 3762376"/>
                <a:gd name="connsiteX494" fmla="*/ 1296457 w 6270621"/>
                <a:gd name="connsiteY494" fmla="*/ 317614 h 3762376"/>
                <a:gd name="connsiteX495" fmla="*/ 1322916 w 6270621"/>
                <a:gd name="connsiteY495" fmla="*/ 343978 h 3762376"/>
                <a:gd name="connsiteX496" fmla="*/ 1322916 w 6270621"/>
                <a:gd name="connsiteY496" fmla="*/ 407251 h 3762376"/>
                <a:gd name="connsiteX497" fmla="*/ 1307040 w 6270621"/>
                <a:gd name="connsiteY497" fmla="*/ 412524 h 3762376"/>
                <a:gd name="connsiteX498" fmla="*/ 1317624 w 6270621"/>
                <a:gd name="connsiteY498" fmla="*/ 428342 h 3762376"/>
                <a:gd name="connsiteX499" fmla="*/ 1349374 w 6270621"/>
                <a:gd name="connsiteY499" fmla="*/ 454706 h 3762376"/>
                <a:gd name="connsiteX500" fmla="*/ 1333499 w 6270621"/>
                <a:gd name="connsiteY500" fmla="*/ 475797 h 3762376"/>
                <a:gd name="connsiteX501" fmla="*/ 1312332 w 6270621"/>
                <a:gd name="connsiteY501" fmla="*/ 496888 h 3762376"/>
                <a:gd name="connsiteX502" fmla="*/ 1275291 w 6270621"/>
                <a:gd name="connsiteY502" fmla="*/ 496888 h 3762376"/>
                <a:gd name="connsiteX503" fmla="*/ 1254124 w 6270621"/>
                <a:gd name="connsiteY503" fmla="*/ 470524 h 3762376"/>
                <a:gd name="connsiteX504" fmla="*/ 1227665 w 6270621"/>
                <a:gd name="connsiteY504" fmla="*/ 481070 h 3762376"/>
                <a:gd name="connsiteX505" fmla="*/ 1174748 w 6270621"/>
                <a:gd name="connsiteY505" fmla="*/ 481070 h 3762376"/>
                <a:gd name="connsiteX506" fmla="*/ 1137707 w 6270621"/>
                <a:gd name="connsiteY506" fmla="*/ 475797 h 3762376"/>
                <a:gd name="connsiteX507" fmla="*/ 1127123 w 6270621"/>
                <a:gd name="connsiteY507" fmla="*/ 459978 h 3762376"/>
                <a:gd name="connsiteX508" fmla="*/ 1132415 w 6270621"/>
                <a:gd name="connsiteY508" fmla="*/ 444160 h 3762376"/>
                <a:gd name="connsiteX509" fmla="*/ 1116540 w 6270621"/>
                <a:gd name="connsiteY509" fmla="*/ 428342 h 3762376"/>
                <a:gd name="connsiteX510" fmla="*/ 1095373 w 6270621"/>
                <a:gd name="connsiteY510" fmla="*/ 417796 h 3762376"/>
                <a:gd name="connsiteX511" fmla="*/ 1095373 w 6270621"/>
                <a:gd name="connsiteY511" fmla="*/ 396705 h 3762376"/>
                <a:gd name="connsiteX512" fmla="*/ 1127123 w 6270621"/>
                <a:gd name="connsiteY512" fmla="*/ 386160 h 3762376"/>
                <a:gd name="connsiteX513" fmla="*/ 1164165 w 6270621"/>
                <a:gd name="connsiteY513" fmla="*/ 407251 h 3762376"/>
                <a:gd name="connsiteX514" fmla="*/ 1174748 w 6270621"/>
                <a:gd name="connsiteY514" fmla="*/ 396705 h 3762376"/>
                <a:gd name="connsiteX515" fmla="*/ 1105957 w 6270621"/>
                <a:gd name="connsiteY515" fmla="*/ 370341 h 3762376"/>
                <a:gd name="connsiteX516" fmla="*/ 1100665 w 6270621"/>
                <a:gd name="connsiteY516" fmla="*/ 359796 h 3762376"/>
                <a:gd name="connsiteX517" fmla="*/ 1132415 w 6270621"/>
                <a:gd name="connsiteY517" fmla="*/ 349250 h 3762376"/>
                <a:gd name="connsiteX518" fmla="*/ 1100665 w 6270621"/>
                <a:gd name="connsiteY518" fmla="*/ 333432 h 3762376"/>
                <a:gd name="connsiteX519" fmla="*/ 1121832 w 6270621"/>
                <a:gd name="connsiteY519" fmla="*/ 317614 h 3762376"/>
                <a:gd name="connsiteX520" fmla="*/ 1132415 w 6270621"/>
                <a:gd name="connsiteY520" fmla="*/ 296523 h 3762376"/>
                <a:gd name="connsiteX521" fmla="*/ 1058332 w 6270621"/>
                <a:gd name="connsiteY521" fmla="*/ 333432 h 3762376"/>
                <a:gd name="connsiteX522" fmla="*/ 1026582 w 6270621"/>
                <a:gd name="connsiteY522" fmla="*/ 333432 h 3762376"/>
                <a:gd name="connsiteX523" fmla="*/ 1015999 w 6270621"/>
                <a:gd name="connsiteY523" fmla="*/ 285978 h 3762376"/>
                <a:gd name="connsiteX524" fmla="*/ 1042457 w 6270621"/>
                <a:gd name="connsiteY524" fmla="*/ 254341 h 3762376"/>
                <a:gd name="connsiteX525" fmla="*/ 1074207 w 6270621"/>
                <a:gd name="connsiteY525" fmla="*/ 249068 h 3762376"/>
                <a:gd name="connsiteX526" fmla="*/ 1068915 w 6270621"/>
                <a:gd name="connsiteY526" fmla="*/ 201613 h 3762376"/>
                <a:gd name="connsiteX527" fmla="*/ 2408234 w 6270621"/>
                <a:gd name="connsiteY527" fmla="*/ 147638 h 3762376"/>
                <a:gd name="connsiteX528" fmla="*/ 2428871 w 6270621"/>
                <a:gd name="connsiteY528" fmla="*/ 158751 h 3762376"/>
                <a:gd name="connsiteX529" fmla="*/ 2528884 w 6270621"/>
                <a:gd name="connsiteY529" fmla="*/ 169863 h 3762376"/>
                <a:gd name="connsiteX530" fmla="*/ 2555872 w 6270621"/>
                <a:gd name="connsiteY530" fmla="*/ 179388 h 3762376"/>
                <a:gd name="connsiteX531" fmla="*/ 2551109 w 6270621"/>
                <a:gd name="connsiteY531" fmla="*/ 201613 h 3762376"/>
                <a:gd name="connsiteX532" fmla="*/ 2571747 w 6270621"/>
                <a:gd name="connsiteY532" fmla="*/ 211138 h 3762376"/>
                <a:gd name="connsiteX533" fmla="*/ 2508247 w 6270621"/>
                <a:gd name="connsiteY533" fmla="*/ 217488 h 3762376"/>
                <a:gd name="connsiteX534" fmla="*/ 2455859 w 6270621"/>
                <a:gd name="connsiteY534" fmla="*/ 206375 h 3762376"/>
                <a:gd name="connsiteX535" fmla="*/ 2460622 w 6270621"/>
                <a:gd name="connsiteY535" fmla="*/ 227013 h 3762376"/>
                <a:gd name="connsiteX536" fmla="*/ 2433634 w 6270621"/>
                <a:gd name="connsiteY536" fmla="*/ 242888 h 3762376"/>
                <a:gd name="connsiteX537" fmla="*/ 2439984 w 6270621"/>
                <a:gd name="connsiteY537" fmla="*/ 254000 h 3762376"/>
                <a:gd name="connsiteX538" fmla="*/ 2449509 w 6270621"/>
                <a:gd name="connsiteY538" fmla="*/ 242888 h 3762376"/>
                <a:gd name="connsiteX539" fmla="*/ 2492372 w 6270621"/>
                <a:gd name="connsiteY539" fmla="*/ 238126 h 3762376"/>
                <a:gd name="connsiteX540" fmla="*/ 2535234 w 6270621"/>
                <a:gd name="connsiteY540" fmla="*/ 227013 h 3762376"/>
                <a:gd name="connsiteX541" fmla="*/ 2528884 w 6270621"/>
                <a:gd name="connsiteY541" fmla="*/ 242888 h 3762376"/>
                <a:gd name="connsiteX542" fmla="*/ 2508247 w 6270621"/>
                <a:gd name="connsiteY542" fmla="*/ 254000 h 3762376"/>
                <a:gd name="connsiteX543" fmla="*/ 2513009 w 6270621"/>
                <a:gd name="connsiteY543" fmla="*/ 265113 h 3762376"/>
                <a:gd name="connsiteX544" fmla="*/ 2528884 w 6270621"/>
                <a:gd name="connsiteY544" fmla="*/ 254000 h 3762376"/>
                <a:gd name="connsiteX545" fmla="*/ 2560634 w 6270621"/>
                <a:gd name="connsiteY545" fmla="*/ 249238 h 3762376"/>
                <a:gd name="connsiteX546" fmla="*/ 2566984 w 6270621"/>
                <a:gd name="connsiteY546" fmla="*/ 227013 h 3762376"/>
                <a:gd name="connsiteX547" fmla="*/ 2576509 w 6270621"/>
                <a:gd name="connsiteY547" fmla="*/ 222251 h 3762376"/>
                <a:gd name="connsiteX548" fmla="*/ 2598734 w 6270621"/>
                <a:gd name="connsiteY548" fmla="*/ 242888 h 3762376"/>
                <a:gd name="connsiteX549" fmla="*/ 2571747 w 6270621"/>
                <a:gd name="connsiteY549" fmla="*/ 258763 h 3762376"/>
                <a:gd name="connsiteX550" fmla="*/ 2555872 w 6270621"/>
                <a:gd name="connsiteY550" fmla="*/ 296863 h 3762376"/>
                <a:gd name="connsiteX551" fmla="*/ 2587622 w 6270621"/>
                <a:gd name="connsiteY551" fmla="*/ 274638 h 3762376"/>
                <a:gd name="connsiteX552" fmla="*/ 2608260 w 6270621"/>
                <a:gd name="connsiteY552" fmla="*/ 249238 h 3762376"/>
                <a:gd name="connsiteX553" fmla="*/ 2646359 w 6270621"/>
                <a:gd name="connsiteY553" fmla="*/ 265113 h 3762376"/>
                <a:gd name="connsiteX554" fmla="*/ 2655884 w 6270621"/>
                <a:gd name="connsiteY554" fmla="*/ 249238 h 3762376"/>
                <a:gd name="connsiteX555" fmla="*/ 2703509 w 6270621"/>
                <a:gd name="connsiteY555" fmla="*/ 249238 h 3762376"/>
                <a:gd name="connsiteX556" fmla="*/ 2719384 w 6270621"/>
                <a:gd name="connsiteY556" fmla="*/ 265113 h 3762376"/>
                <a:gd name="connsiteX557" fmla="*/ 2693984 w 6270621"/>
                <a:gd name="connsiteY557" fmla="*/ 269875 h 3762376"/>
                <a:gd name="connsiteX558" fmla="*/ 2671759 w 6270621"/>
                <a:gd name="connsiteY558" fmla="*/ 285751 h 3762376"/>
                <a:gd name="connsiteX559" fmla="*/ 2635247 w 6270621"/>
                <a:gd name="connsiteY559" fmla="*/ 301625 h 3762376"/>
                <a:gd name="connsiteX560" fmla="*/ 2646359 w 6270621"/>
                <a:gd name="connsiteY560" fmla="*/ 328613 h 3762376"/>
                <a:gd name="connsiteX561" fmla="*/ 2624134 w 6270621"/>
                <a:gd name="connsiteY561" fmla="*/ 328613 h 3762376"/>
                <a:gd name="connsiteX562" fmla="*/ 2603497 w 6270621"/>
                <a:gd name="connsiteY562" fmla="*/ 349250 h 3762376"/>
                <a:gd name="connsiteX563" fmla="*/ 2603497 w 6270621"/>
                <a:gd name="connsiteY563" fmla="*/ 376238 h 3762376"/>
                <a:gd name="connsiteX564" fmla="*/ 2619372 w 6270621"/>
                <a:gd name="connsiteY564" fmla="*/ 385763 h 3762376"/>
                <a:gd name="connsiteX565" fmla="*/ 2619372 w 6270621"/>
                <a:gd name="connsiteY565" fmla="*/ 401638 h 3762376"/>
                <a:gd name="connsiteX566" fmla="*/ 2603497 w 6270621"/>
                <a:gd name="connsiteY566" fmla="*/ 396875 h 3762376"/>
                <a:gd name="connsiteX567" fmla="*/ 2598734 w 6270621"/>
                <a:gd name="connsiteY567" fmla="*/ 407988 h 3762376"/>
                <a:gd name="connsiteX568" fmla="*/ 2614609 w 6270621"/>
                <a:gd name="connsiteY568" fmla="*/ 417513 h 3762376"/>
                <a:gd name="connsiteX569" fmla="*/ 2624134 w 6270621"/>
                <a:gd name="connsiteY569" fmla="*/ 417513 h 3762376"/>
                <a:gd name="connsiteX570" fmla="*/ 2635247 w 6270621"/>
                <a:gd name="connsiteY570" fmla="*/ 412750 h 3762376"/>
                <a:gd name="connsiteX571" fmla="*/ 2635247 w 6270621"/>
                <a:gd name="connsiteY571" fmla="*/ 439738 h 3762376"/>
                <a:gd name="connsiteX572" fmla="*/ 2592384 w 6270621"/>
                <a:gd name="connsiteY572" fmla="*/ 423863 h 3762376"/>
                <a:gd name="connsiteX573" fmla="*/ 2576509 w 6270621"/>
                <a:gd name="connsiteY573" fmla="*/ 433388 h 3762376"/>
                <a:gd name="connsiteX574" fmla="*/ 2603497 w 6270621"/>
                <a:gd name="connsiteY574" fmla="*/ 460375 h 3762376"/>
                <a:gd name="connsiteX575" fmla="*/ 2608260 w 6270621"/>
                <a:gd name="connsiteY575" fmla="*/ 476250 h 3762376"/>
                <a:gd name="connsiteX576" fmla="*/ 2587622 w 6270621"/>
                <a:gd name="connsiteY576" fmla="*/ 503238 h 3762376"/>
                <a:gd name="connsiteX577" fmla="*/ 2566984 w 6270621"/>
                <a:gd name="connsiteY577" fmla="*/ 519113 h 3762376"/>
                <a:gd name="connsiteX578" fmla="*/ 2598734 w 6270621"/>
                <a:gd name="connsiteY578" fmla="*/ 534988 h 3762376"/>
                <a:gd name="connsiteX579" fmla="*/ 2587622 w 6270621"/>
                <a:gd name="connsiteY579" fmla="*/ 550863 h 3762376"/>
                <a:gd name="connsiteX580" fmla="*/ 2551109 w 6270621"/>
                <a:gd name="connsiteY580" fmla="*/ 544513 h 3762376"/>
                <a:gd name="connsiteX581" fmla="*/ 2519359 w 6270621"/>
                <a:gd name="connsiteY581" fmla="*/ 528638 h 3762376"/>
                <a:gd name="connsiteX582" fmla="*/ 2519359 w 6270621"/>
                <a:gd name="connsiteY582" fmla="*/ 555625 h 3762376"/>
                <a:gd name="connsiteX583" fmla="*/ 2487609 w 6270621"/>
                <a:gd name="connsiteY583" fmla="*/ 544513 h 3762376"/>
                <a:gd name="connsiteX584" fmla="*/ 2513009 w 6270621"/>
                <a:gd name="connsiteY584" fmla="*/ 582613 h 3762376"/>
                <a:gd name="connsiteX585" fmla="*/ 2551109 w 6270621"/>
                <a:gd name="connsiteY585" fmla="*/ 598488 h 3762376"/>
                <a:gd name="connsiteX586" fmla="*/ 2560634 w 6270621"/>
                <a:gd name="connsiteY586" fmla="*/ 623888 h 3762376"/>
                <a:gd name="connsiteX587" fmla="*/ 2560634 w 6270621"/>
                <a:gd name="connsiteY587" fmla="*/ 650875 h 3762376"/>
                <a:gd name="connsiteX588" fmla="*/ 2524121 w 6270621"/>
                <a:gd name="connsiteY588" fmla="*/ 639763 h 3762376"/>
                <a:gd name="connsiteX589" fmla="*/ 2513009 w 6270621"/>
                <a:gd name="connsiteY589" fmla="*/ 619125 h 3762376"/>
                <a:gd name="connsiteX590" fmla="*/ 2476497 w 6270621"/>
                <a:gd name="connsiteY590" fmla="*/ 630238 h 3762376"/>
                <a:gd name="connsiteX591" fmla="*/ 2460622 w 6270621"/>
                <a:gd name="connsiteY591" fmla="*/ 646113 h 3762376"/>
                <a:gd name="connsiteX592" fmla="*/ 2497134 w 6270621"/>
                <a:gd name="connsiteY592" fmla="*/ 655638 h 3762376"/>
                <a:gd name="connsiteX593" fmla="*/ 2535234 w 6270621"/>
                <a:gd name="connsiteY593" fmla="*/ 666750 h 3762376"/>
                <a:gd name="connsiteX594" fmla="*/ 2487609 w 6270621"/>
                <a:gd name="connsiteY594" fmla="*/ 703263 h 3762376"/>
                <a:gd name="connsiteX595" fmla="*/ 2433634 w 6270621"/>
                <a:gd name="connsiteY595" fmla="*/ 719138 h 3762376"/>
                <a:gd name="connsiteX596" fmla="*/ 2392359 w 6270621"/>
                <a:gd name="connsiteY596" fmla="*/ 719138 h 3762376"/>
                <a:gd name="connsiteX597" fmla="*/ 2370134 w 6270621"/>
                <a:gd name="connsiteY597" fmla="*/ 741363 h 3762376"/>
                <a:gd name="connsiteX598" fmla="*/ 2333622 w 6270621"/>
                <a:gd name="connsiteY598" fmla="*/ 777875 h 3762376"/>
                <a:gd name="connsiteX599" fmla="*/ 2290759 w 6270621"/>
                <a:gd name="connsiteY599" fmla="*/ 788988 h 3762376"/>
                <a:gd name="connsiteX600" fmla="*/ 2249485 w 6270621"/>
                <a:gd name="connsiteY600" fmla="*/ 798513 h 3762376"/>
                <a:gd name="connsiteX601" fmla="*/ 2233609 w 6270621"/>
                <a:gd name="connsiteY601" fmla="*/ 830263 h 3762376"/>
                <a:gd name="connsiteX602" fmla="*/ 2201859 w 6270621"/>
                <a:gd name="connsiteY602" fmla="*/ 889001 h 3762376"/>
                <a:gd name="connsiteX603" fmla="*/ 2163759 w 6270621"/>
                <a:gd name="connsiteY603" fmla="*/ 941388 h 3762376"/>
                <a:gd name="connsiteX604" fmla="*/ 2163759 w 6270621"/>
                <a:gd name="connsiteY604" fmla="*/ 957263 h 3762376"/>
                <a:gd name="connsiteX605" fmla="*/ 2138359 w 6270621"/>
                <a:gd name="connsiteY605" fmla="*/ 947738 h 3762376"/>
                <a:gd name="connsiteX606" fmla="*/ 2122485 w 6270621"/>
                <a:gd name="connsiteY606" fmla="*/ 925513 h 3762376"/>
                <a:gd name="connsiteX607" fmla="*/ 2095497 w 6270621"/>
                <a:gd name="connsiteY607" fmla="*/ 925513 h 3762376"/>
                <a:gd name="connsiteX608" fmla="*/ 2063747 w 6270621"/>
                <a:gd name="connsiteY608" fmla="*/ 884238 h 3762376"/>
                <a:gd name="connsiteX609" fmla="*/ 2052634 w 6270621"/>
                <a:gd name="connsiteY609" fmla="*/ 841376 h 3762376"/>
                <a:gd name="connsiteX610" fmla="*/ 2047872 w 6270621"/>
                <a:gd name="connsiteY610" fmla="*/ 782638 h 3762376"/>
                <a:gd name="connsiteX611" fmla="*/ 2047872 w 6270621"/>
                <a:gd name="connsiteY611" fmla="*/ 735013 h 3762376"/>
                <a:gd name="connsiteX612" fmla="*/ 2063747 w 6270621"/>
                <a:gd name="connsiteY612" fmla="*/ 687388 h 3762376"/>
                <a:gd name="connsiteX613" fmla="*/ 2090734 w 6270621"/>
                <a:gd name="connsiteY613" fmla="*/ 655638 h 3762376"/>
                <a:gd name="connsiteX614" fmla="*/ 2111372 w 6270621"/>
                <a:gd name="connsiteY614" fmla="*/ 630238 h 3762376"/>
                <a:gd name="connsiteX615" fmla="*/ 2100259 w 6270621"/>
                <a:gd name="connsiteY615" fmla="*/ 592138 h 3762376"/>
                <a:gd name="connsiteX616" fmla="*/ 2095497 w 6270621"/>
                <a:gd name="connsiteY616" fmla="*/ 566738 h 3762376"/>
                <a:gd name="connsiteX617" fmla="*/ 2079622 w 6270621"/>
                <a:gd name="connsiteY617" fmla="*/ 544513 h 3762376"/>
                <a:gd name="connsiteX618" fmla="*/ 2068509 w 6270621"/>
                <a:gd name="connsiteY618" fmla="*/ 566738 h 3762376"/>
                <a:gd name="connsiteX619" fmla="*/ 2052634 w 6270621"/>
                <a:gd name="connsiteY619" fmla="*/ 566738 h 3762376"/>
                <a:gd name="connsiteX620" fmla="*/ 2058984 w 6270621"/>
                <a:gd name="connsiteY620" fmla="*/ 539750 h 3762376"/>
                <a:gd name="connsiteX621" fmla="*/ 2068509 w 6270621"/>
                <a:gd name="connsiteY621" fmla="*/ 523875 h 3762376"/>
                <a:gd name="connsiteX622" fmla="*/ 2068509 w 6270621"/>
                <a:gd name="connsiteY622" fmla="*/ 496888 h 3762376"/>
                <a:gd name="connsiteX623" fmla="*/ 2058984 w 6270621"/>
                <a:gd name="connsiteY623" fmla="*/ 455613 h 3762376"/>
                <a:gd name="connsiteX624" fmla="*/ 2043109 w 6270621"/>
                <a:gd name="connsiteY624" fmla="*/ 444500 h 3762376"/>
                <a:gd name="connsiteX625" fmla="*/ 2036759 w 6270621"/>
                <a:gd name="connsiteY625" fmla="*/ 401638 h 3762376"/>
                <a:gd name="connsiteX626" fmla="*/ 2005009 w 6270621"/>
                <a:gd name="connsiteY626" fmla="*/ 381000 h 3762376"/>
                <a:gd name="connsiteX627" fmla="*/ 1979609 w 6270621"/>
                <a:gd name="connsiteY627" fmla="*/ 365125 h 3762376"/>
                <a:gd name="connsiteX628" fmla="*/ 1952622 w 6270621"/>
                <a:gd name="connsiteY628" fmla="*/ 376238 h 3762376"/>
                <a:gd name="connsiteX629" fmla="*/ 1925634 w 6270621"/>
                <a:gd name="connsiteY629" fmla="*/ 376238 h 3762376"/>
                <a:gd name="connsiteX630" fmla="*/ 1916109 w 6270621"/>
                <a:gd name="connsiteY630" fmla="*/ 354013 h 3762376"/>
                <a:gd name="connsiteX631" fmla="*/ 1900234 w 6270621"/>
                <a:gd name="connsiteY631" fmla="*/ 349250 h 3762376"/>
                <a:gd name="connsiteX632" fmla="*/ 1904997 w 6270621"/>
                <a:gd name="connsiteY632" fmla="*/ 333376 h 3762376"/>
                <a:gd name="connsiteX633" fmla="*/ 1936747 w 6270621"/>
                <a:gd name="connsiteY633" fmla="*/ 333376 h 3762376"/>
                <a:gd name="connsiteX634" fmla="*/ 1941509 w 6270621"/>
                <a:gd name="connsiteY634" fmla="*/ 328613 h 3762376"/>
                <a:gd name="connsiteX635" fmla="*/ 1920872 w 6270621"/>
                <a:gd name="connsiteY635" fmla="*/ 328613 h 3762376"/>
                <a:gd name="connsiteX636" fmla="*/ 1900234 w 6270621"/>
                <a:gd name="connsiteY636" fmla="*/ 317501 h 3762376"/>
                <a:gd name="connsiteX637" fmla="*/ 1884361 w 6270621"/>
                <a:gd name="connsiteY637" fmla="*/ 301625 h 3762376"/>
                <a:gd name="connsiteX638" fmla="*/ 1916109 w 6270621"/>
                <a:gd name="connsiteY638" fmla="*/ 306388 h 3762376"/>
                <a:gd name="connsiteX639" fmla="*/ 1936747 w 6270621"/>
                <a:gd name="connsiteY639" fmla="*/ 301625 h 3762376"/>
                <a:gd name="connsiteX640" fmla="*/ 1968497 w 6270621"/>
                <a:gd name="connsiteY640" fmla="*/ 301625 h 3762376"/>
                <a:gd name="connsiteX641" fmla="*/ 1952622 w 6270621"/>
                <a:gd name="connsiteY641" fmla="*/ 290513 h 3762376"/>
                <a:gd name="connsiteX642" fmla="*/ 1920872 w 6270621"/>
                <a:gd name="connsiteY642" fmla="*/ 290513 h 3762376"/>
                <a:gd name="connsiteX643" fmla="*/ 1900234 w 6270621"/>
                <a:gd name="connsiteY643" fmla="*/ 274638 h 3762376"/>
                <a:gd name="connsiteX644" fmla="*/ 1889122 w 6270621"/>
                <a:gd name="connsiteY644" fmla="*/ 254000 h 3762376"/>
                <a:gd name="connsiteX645" fmla="*/ 1920872 w 6270621"/>
                <a:gd name="connsiteY645" fmla="*/ 249238 h 3762376"/>
                <a:gd name="connsiteX646" fmla="*/ 1973259 w 6270621"/>
                <a:gd name="connsiteY646" fmla="*/ 242888 h 3762376"/>
                <a:gd name="connsiteX647" fmla="*/ 2016122 w 6270621"/>
                <a:gd name="connsiteY647" fmla="*/ 227013 h 3762376"/>
                <a:gd name="connsiteX648" fmla="*/ 1979609 w 6270621"/>
                <a:gd name="connsiteY648" fmla="*/ 222251 h 3762376"/>
                <a:gd name="connsiteX649" fmla="*/ 1973259 w 6270621"/>
                <a:gd name="connsiteY649" fmla="*/ 206375 h 3762376"/>
                <a:gd name="connsiteX650" fmla="*/ 2000247 w 6270621"/>
                <a:gd name="connsiteY650" fmla="*/ 195263 h 3762376"/>
                <a:gd name="connsiteX651" fmla="*/ 2020884 w 6270621"/>
                <a:gd name="connsiteY651" fmla="*/ 195263 h 3762376"/>
                <a:gd name="connsiteX652" fmla="*/ 2047872 w 6270621"/>
                <a:gd name="connsiteY652" fmla="*/ 195263 h 3762376"/>
                <a:gd name="connsiteX653" fmla="*/ 2058984 w 6270621"/>
                <a:gd name="connsiteY653" fmla="*/ 174626 h 3762376"/>
                <a:gd name="connsiteX654" fmla="*/ 2090734 w 6270621"/>
                <a:gd name="connsiteY654" fmla="*/ 163513 h 3762376"/>
                <a:gd name="connsiteX655" fmla="*/ 2154234 w 6270621"/>
                <a:gd name="connsiteY655" fmla="*/ 169863 h 3762376"/>
                <a:gd name="connsiteX656" fmla="*/ 2163759 w 6270621"/>
                <a:gd name="connsiteY656" fmla="*/ 201613 h 3762376"/>
                <a:gd name="connsiteX657" fmla="*/ 2185985 w 6270621"/>
                <a:gd name="connsiteY657" fmla="*/ 190501 h 3762376"/>
                <a:gd name="connsiteX658" fmla="*/ 2217734 w 6270621"/>
                <a:gd name="connsiteY658" fmla="*/ 201613 h 3762376"/>
                <a:gd name="connsiteX659" fmla="*/ 2206622 w 6270621"/>
                <a:gd name="connsiteY659" fmla="*/ 174626 h 3762376"/>
                <a:gd name="connsiteX660" fmla="*/ 2222496 w 6270621"/>
                <a:gd name="connsiteY660" fmla="*/ 169863 h 3762376"/>
                <a:gd name="connsiteX661" fmla="*/ 2238371 w 6270621"/>
                <a:gd name="connsiteY661" fmla="*/ 185738 h 3762376"/>
                <a:gd name="connsiteX662" fmla="*/ 2259009 w 6270621"/>
                <a:gd name="connsiteY662" fmla="*/ 185738 h 3762376"/>
                <a:gd name="connsiteX663" fmla="*/ 2274884 w 6270621"/>
                <a:gd name="connsiteY663" fmla="*/ 206375 h 3762376"/>
                <a:gd name="connsiteX664" fmla="*/ 2290759 w 6270621"/>
                <a:gd name="connsiteY664" fmla="*/ 211138 h 3762376"/>
                <a:gd name="connsiteX665" fmla="*/ 2290759 w 6270621"/>
                <a:gd name="connsiteY665" fmla="*/ 195263 h 3762376"/>
                <a:gd name="connsiteX666" fmla="*/ 2317747 w 6270621"/>
                <a:gd name="connsiteY666" fmla="*/ 190501 h 3762376"/>
                <a:gd name="connsiteX667" fmla="*/ 2312984 w 6270621"/>
                <a:gd name="connsiteY667" fmla="*/ 185738 h 3762376"/>
                <a:gd name="connsiteX668" fmla="*/ 2285996 w 6270621"/>
                <a:gd name="connsiteY668" fmla="*/ 174626 h 3762376"/>
                <a:gd name="connsiteX669" fmla="*/ 2301872 w 6270621"/>
                <a:gd name="connsiteY669" fmla="*/ 158751 h 3762376"/>
                <a:gd name="connsiteX670" fmla="*/ 2328859 w 6270621"/>
                <a:gd name="connsiteY670" fmla="*/ 153988 h 3762376"/>
                <a:gd name="connsiteX671" fmla="*/ 2328859 w 6270621"/>
                <a:gd name="connsiteY671" fmla="*/ 169863 h 3762376"/>
                <a:gd name="connsiteX672" fmla="*/ 2376484 w 6270621"/>
                <a:gd name="connsiteY672" fmla="*/ 179388 h 3762376"/>
                <a:gd name="connsiteX673" fmla="*/ 2365372 w 6270621"/>
                <a:gd name="connsiteY673" fmla="*/ 163513 h 3762376"/>
                <a:gd name="connsiteX674" fmla="*/ 2376484 w 6270621"/>
                <a:gd name="connsiteY674" fmla="*/ 158751 h 3762376"/>
                <a:gd name="connsiteX675" fmla="*/ 2397122 w 6270621"/>
                <a:gd name="connsiteY675" fmla="*/ 158751 h 3762376"/>
                <a:gd name="connsiteX676" fmla="*/ 1544780 w 6270621"/>
                <a:gd name="connsiteY676" fmla="*/ 142875 h 3762376"/>
                <a:gd name="connsiteX677" fmla="*/ 1571479 w 6270621"/>
                <a:gd name="connsiteY677" fmla="*/ 158750 h 3762376"/>
                <a:gd name="connsiteX678" fmla="*/ 1582158 w 6270621"/>
                <a:gd name="connsiteY678" fmla="*/ 179917 h 3762376"/>
                <a:gd name="connsiteX679" fmla="*/ 1544780 w 6270621"/>
                <a:gd name="connsiteY679" fmla="*/ 190500 h 3762376"/>
                <a:gd name="connsiteX680" fmla="*/ 1528761 w 6270621"/>
                <a:gd name="connsiteY680" fmla="*/ 174625 h 3762376"/>
                <a:gd name="connsiteX681" fmla="*/ 1544780 w 6270621"/>
                <a:gd name="connsiteY681" fmla="*/ 169333 h 3762376"/>
                <a:gd name="connsiteX682" fmla="*/ 1534101 w 6270621"/>
                <a:gd name="connsiteY682" fmla="*/ 153459 h 3762376"/>
                <a:gd name="connsiteX683" fmla="*/ 465552 w 6270621"/>
                <a:gd name="connsiteY683" fmla="*/ 138113 h 3762376"/>
                <a:gd name="connsiteX684" fmla="*/ 534327 w 6270621"/>
                <a:gd name="connsiteY684" fmla="*/ 159280 h 3762376"/>
                <a:gd name="connsiteX685" fmla="*/ 613683 w 6270621"/>
                <a:gd name="connsiteY685" fmla="*/ 201613 h 3762376"/>
                <a:gd name="connsiteX686" fmla="*/ 708909 w 6270621"/>
                <a:gd name="connsiteY686" fmla="*/ 275697 h 3762376"/>
                <a:gd name="connsiteX687" fmla="*/ 798846 w 6270621"/>
                <a:gd name="connsiteY687" fmla="*/ 355071 h 3762376"/>
                <a:gd name="connsiteX688" fmla="*/ 825298 w 6270621"/>
                <a:gd name="connsiteY688" fmla="*/ 328613 h 3762376"/>
                <a:gd name="connsiteX689" fmla="*/ 894073 w 6270621"/>
                <a:gd name="connsiteY689" fmla="*/ 323321 h 3762376"/>
                <a:gd name="connsiteX690" fmla="*/ 957557 w 6270621"/>
                <a:gd name="connsiteY690" fmla="*/ 370946 h 3762376"/>
                <a:gd name="connsiteX691" fmla="*/ 1015751 w 6270621"/>
                <a:gd name="connsiteY691" fmla="*/ 381530 h 3762376"/>
                <a:gd name="connsiteX692" fmla="*/ 1073945 w 6270621"/>
                <a:gd name="connsiteY692" fmla="*/ 434446 h 3762376"/>
                <a:gd name="connsiteX693" fmla="*/ 1100397 w 6270621"/>
                <a:gd name="connsiteY693" fmla="*/ 450321 h 3762376"/>
                <a:gd name="connsiteX694" fmla="*/ 1105687 w 6270621"/>
                <a:gd name="connsiteY694" fmla="*/ 476780 h 3762376"/>
                <a:gd name="connsiteX695" fmla="*/ 1089816 w 6270621"/>
                <a:gd name="connsiteY695" fmla="*/ 492655 h 3762376"/>
                <a:gd name="connsiteX696" fmla="*/ 1158591 w 6270621"/>
                <a:gd name="connsiteY696" fmla="*/ 503238 h 3762376"/>
                <a:gd name="connsiteX697" fmla="*/ 1174462 w 6270621"/>
                <a:gd name="connsiteY697" fmla="*/ 519113 h 3762376"/>
                <a:gd name="connsiteX698" fmla="*/ 1195623 w 6270621"/>
                <a:gd name="connsiteY698" fmla="*/ 545571 h 3762376"/>
                <a:gd name="connsiteX699" fmla="*/ 1211495 w 6270621"/>
                <a:gd name="connsiteY699" fmla="*/ 497946 h 3762376"/>
                <a:gd name="connsiteX700" fmla="*/ 1243237 w 6270621"/>
                <a:gd name="connsiteY700" fmla="*/ 492655 h 3762376"/>
                <a:gd name="connsiteX701" fmla="*/ 1253818 w 6270621"/>
                <a:gd name="connsiteY701" fmla="*/ 519113 h 3762376"/>
                <a:gd name="connsiteX702" fmla="*/ 1301431 w 6270621"/>
                <a:gd name="connsiteY702" fmla="*/ 545571 h 3762376"/>
                <a:gd name="connsiteX703" fmla="*/ 1349045 w 6270621"/>
                <a:gd name="connsiteY703" fmla="*/ 556155 h 3762376"/>
                <a:gd name="connsiteX704" fmla="*/ 1349045 w 6270621"/>
                <a:gd name="connsiteY704" fmla="*/ 540280 h 3762376"/>
                <a:gd name="connsiteX705" fmla="*/ 1375497 w 6270621"/>
                <a:gd name="connsiteY705" fmla="*/ 540280 h 3762376"/>
                <a:gd name="connsiteX706" fmla="*/ 1386078 w 6270621"/>
                <a:gd name="connsiteY706" fmla="*/ 582613 h 3762376"/>
                <a:gd name="connsiteX707" fmla="*/ 1433690 w 6270621"/>
                <a:gd name="connsiteY707" fmla="*/ 550863 h 3762376"/>
                <a:gd name="connsiteX708" fmla="*/ 1438981 w 6270621"/>
                <a:gd name="connsiteY708" fmla="*/ 513821 h 3762376"/>
                <a:gd name="connsiteX709" fmla="*/ 1423110 w 6270621"/>
                <a:gd name="connsiteY709" fmla="*/ 487363 h 3762376"/>
                <a:gd name="connsiteX710" fmla="*/ 1428400 w 6270621"/>
                <a:gd name="connsiteY710" fmla="*/ 445030 h 3762376"/>
                <a:gd name="connsiteX711" fmla="*/ 1470723 w 6270621"/>
                <a:gd name="connsiteY711" fmla="*/ 418571 h 3762376"/>
                <a:gd name="connsiteX712" fmla="*/ 1486594 w 6270621"/>
                <a:gd name="connsiteY712" fmla="*/ 450321 h 3762376"/>
                <a:gd name="connsiteX713" fmla="*/ 1486594 w 6270621"/>
                <a:gd name="connsiteY713" fmla="*/ 508530 h 3762376"/>
                <a:gd name="connsiteX714" fmla="*/ 1491885 w 6270621"/>
                <a:gd name="connsiteY714" fmla="*/ 572030 h 3762376"/>
                <a:gd name="connsiteX715" fmla="*/ 1513046 w 6270621"/>
                <a:gd name="connsiteY715" fmla="*/ 540280 h 3762376"/>
                <a:gd name="connsiteX716" fmla="*/ 1528917 w 6270621"/>
                <a:gd name="connsiteY716" fmla="*/ 550863 h 3762376"/>
                <a:gd name="connsiteX717" fmla="*/ 1513046 w 6270621"/>
                <a:gd name="connsiteY717" fmla="*/ 582613 h 3762376"/>
                <a:gd name="connsiteX718" fmla="*/ 1518337 w 6270621"/>
                <a:gd name="connsiteY718" fmla="*/ 614363 h 3762376"/>
                <a:gd name="connsiteX719" fmla="*/ 1565950 w 6270621"/>
                <a:gd name="connsiteY719" fmla="*/ 582613 h 3762376"/>
                <a:gd name="connsiteX720" fmla="*/ 1581821 w 6270621"/>
                <a:gd name="connsiteY720" fmla="*/ 540280 h 3762376"/>
                <a:gd name="connsiteX721" fmla="*/ 1629435 w 6270621"/>
                <a:gd name="connsiteY721" fmla="*/ 561446 h 3762376"/>
                <a:gd name="connsiteX722" fmla="*/ 1602983 w 6270621"/>
                <a:gd name="connsiteY722" fmla="*/ 646113 h 3762376"/>
                <a:gd name="connsiteX723" fmla="*/ 1550079 w 6270621"/>
                <a:gd name="connsiteY723" fmla="*/ 656696 h 3762376"/>
                <a:gd name="connsiteX724" fmla="*/ 1518337 w 6270621"/>
                <a:gd name="connsiteY724" fmla="*/ 646113 h 3762376"/>
                <a:gd name="connsiteX725" fmla="*/ 1470723 w 6270621"/>
                <a:gd name="connsiteY725" fmla="*/ 709613 h 3762376"/>
                <a:gd name="connsiteX726" fmla="*/ 1359625 w 6270621"/>
                <a:gd name="connsiteY726" fmla="*/ 746655 h 3762376"/>
                <a:gd name="connsiteX727" fmla="*/ 1296141 w 6270621"/>
                <a:gd name="connsiteY727" fmla="*/ 826030 h 3762376"/>
                <a:gd name="connsiteX728" fmla="*/ 1301431 w 6270621"/>
                <a:gd name="connsiteY728" fmla="*/ 937155 h 3762376"/>
                <a:gd name="connsiteX729" fmla="*/ 1333173 w 6270621"/>
                <a:gd name="connsiteY729" fmla="*/ 931863 h 3762376"/>
                <a:gd name="connsiteX730" fmla="*/ 1407239 w 6270621"/>
                <a:gd name="connsiteY730" fmla="*/ 995363 h 3762376"/>
                <a:gd name="connsiteX731" fmla="*/ 1454852 w 6270621"/>
                <a:gd name="connsiteY731" fmla="*/ 1011238 h 3762376"/>
                <a:gd name="connsiteX732" fmla="*/ 1433690 w 6270621"/>
                <a:gd name="connsiteY732" fmla="*/ 1095905 h 3762376"/>
                <a:gd name="connsiteX733" fmla="*/ 1465433 w 6270621"/>
                <a:gd name="connsiteY733" fmla="*/ 1122363 h 3762376"/>
                <a:gd name="connsiteX734" fmla="*/ 1497175 w 6270621"/>
                <a:gd name="connsiteY734" fmla="*/ 1085321 h 3762376"/>
                <a:gd name="connsiteX735" fmla="*/ 1502465 w 6270621"/>
                <a:gd name="connsiteY735" fmla="*/ 1037696 h 3762376"/>
                <a:gd name="connsiteX736" fmla="*/ 1560659 w 6270621"/>
                <a:gd name="connsiteY736" fmla="*/ 1021821 h 3762376"/>
                <a:gd name="connsiteX737" fmla="*/ 1576531 w 6270621"/>
                <a:gd name="connsiteY737" fmla="*/ 958321 h 3762376"/>
                <a:gd name="connsiteX738" fmla="*/ 1560659 w 6270621"/>
                <a:gd name="connsiteY738" fmla="*/ 915988 h 3762376"/>
                <a:gd name="connsiteX739" fmla="*/ 1587112 w 6270621"/>
                <a:gd name="connsiteY739" fmla="*/ 878946 h 3762376"/>
                <a:gd name="connsiteX740" fmla="*/ 1608273 w 6270621"/>
                <a:gd name="connsiteY740" fmla="*/ 799571 h 3762376"/>
                <a:gd name="connsiteX741" fmla="*/ 1671758 w 6270621"/>
                <a:gd name="connsiteY741" fmla="*/ 810155 h 3762376"/>
                <a:gd name="connsiteX742" fmla="*/ 1719371 w 6270621"/>
                <a:gd name="connsiteY742" fmla="*/ 868363 h 3762376"/>
                <a:gd name="connsiteX743" fmla="*/ 1719371 w 6270621"/>
                <a:gd name="connsiteY743" fmla="*/ 942446 h 3762376"/>
                <a:gd name="connsiteX744" fmla="*/ 1761694 w 6270621"/>
                <a:gd name="connsiteY744" fmla="*/ 958321 h 3762376"/>
                <a:gd name="connsiteX745" fmla="*/ 1809307 w 6270621"/>
                <a:gd name="connsiteY745" fmla="*/ 905405 h 3762376"/>
                <a:gd name="connsiteX746" fmla="*/ 1825178 w 6270621"/>
                <a:gd name="connsiteY746" fmla="*/ 937155 h 3762376"/>
                <a:gd name="connsiteX747" fmla="*/ 1841050 w 6270621"/>
                <a:gd name="connsiteY747" fmla="*/ 1027113 h 3762376"/>
                <a:gd name="connsiteX748" fmla="*/ 1899241 w 6270621"/>
                <a:gd name="connsiteY748" fmla="*/ 1090613 h 3762376"/>
                <a:gd name="connsiteX749" fmla="*/ 1899241 w 6270621"/>
                <a:gd name="connsiteY749" fmla="*/ 1175280 h 3762376"/>
                <a:gd name="connsiteX750" fmla="*/ 1867502 w 6270621"/>
                <a:gd name="connsiteY750" fmla="*/ 1233488 h 3762376"/>
                <a:gd name="connsiteX751" fmla="*/ 1915112 w 6270621"/>
                <a:gd name="connsiteY751" fmla="*/ 1233488 h 3762376"/>
                <a:gd name="connsiteX752" fmla="*/ 1920402 w 6270621"/>
                <a:gd name="connsiteY752" fmla="*/ 1291697 h 3762376"/>
                <a:gd name="connsiteX753" fmla="*/ 1835760 w 6270621"/>
                <a:gd name="connsiteY753" fmla="*/ 1259947 h 3762376"/>
                <a:gd name="connsiteX754" fmla="*/ 1825178 w 6270621"/>
                <a:gd name="connsiteY754" fmla="*/ 1238780 h 3762376"/>
                <a:gd name="connsiteX755" fmla="*/ 1872792 w 6270621"/>
                <a:gd name="connsiteY755" fmla="*/ 1180571 h 3762376"/>
                <a:gd name="connsiteX756" fmla="*/ 1793436 w 6270621"/>
                <a:gd name="connsiteY756" fmla="*/ 1180571 h 3762376"/>
                <a:gd name="connsiteX757" fmla="*/ 1698210 w 6270621"/>
                <a:gd name="connsiteY757" fmla="*/ 1185863 h 3762376"/>
                <a:gd name="connsiteX758" fmla="*/ 1714081 w 6270621"/>
                <a:gd name="connsiteY758" fmla="*/ 1217613 h 3762376"/>
                <a:gd name="connsiteX759" fmla="*/ 1714081 w 6270621"/>
                <a:gd name="connsiteY759" fmla="*/ 1270530 h 3762376"/>
                <a:gd name="connsiteX760" fmla="*/ 1766984 w 6270621"/>
                <a:gd name="connsiteY760" fmla="*/ 1312863 h 3762376"/>
                <a:gd name="connsiteX761" fmla="*/ 1729952 w 6270621"/>
                <a:gd name="connsiteY761" fmla="*/ 1349905 h 3762376"/>
                <a:gd name="connsiteX762" fmla="*/ 1666467 w 6270621"/>
                <a:gd name="connsiteY762" fmla="*/ 1365780 h 3762376"/>
                <a:gd name="connsiteX763" fmla="*/ 1645306 w 6270621"/>
                <a:gd name="connsiteY763" fmla="*/ 1334030 h 3762376"/>
                <a:gd name="connsiteX764" fmla="*/ 1581821 w 6270621"/>
                <a:gd name="connsiteY764" fmla="*/ 1360488 h 3762376"/>
                <a:gd name="connsiteX765" fmla="*/ 1565950 w 6270621"/>
                <a:gd name="connsiteY765" fmla="*/ 1402822 h 3762376"/>
                <a:gd name="connsiteX766" fmla="*/ 1523627 w 6270621"/>
                <a:gd name="connsiteY766" fmla="*/ 1418697 h 3762376"/>
                <a:gd name="connsiteX767" fmla="*/ 1470723 w 6270621"/>
                <a:gd name="connsiteY767" fmla="*/ 1461030 h 3762376"/>
                <a:gd name="connsiteX768" fmla="*/ 1417820 w 6270621"/>
                <a:gd name="connsiteY768" fmla="*/ 1561572 h 3762376"/>
                <a:gd name="connsiteX769" fmla="*/ 1359625 w 6270621"/>
                <a:gd name="connsiteY769" fmla="*/ 1582738 h 3762376"/>
                <a:gd name="connsiteX770" fmla="*/ 1280270 w 6270621"/>
                <a:gd name="connsiteY770" fmla="*/ 1677988 h 3762376"/>
                <a:gd name="connsiteX771" fmla="*/ 1301431 w 6270621"/>
                <a:gd name="connsiteY771" fmla="*/ 1762655 h 3762376"/>
                <a:gd name="connsiteX772" fmla="*/ 1274979 w 6270621"/>
                <a:gd name="connsiteY772" fmla="*/ 1804988 h 3762376"/>
                <a:gd name="connsiteX773" fmla="*/ 1264399 w 6270621"/>
                <a:gd name="connsiteY773" fmla="*/ 1783822 h 3762376"/>
                <a:gd name="connsiteX774" fmla="*/ 1248528 w 6270621"/>
                <a:gd name="connsiteY774" fmla="*/ 1746780 h 3762376"/>
                <a:gd name="connsiteX775" fmla="*/ 1253818 w 6270621"/>
                <a:gd name="connsiteY775" fmla="*/ 1709738 h 3762376"/>
                <a:gd name="connsiteX776" fmla="*/ 1232657 w 6270621"/>
                <a:gd name="connsiteY776" fmla="*/ 1672697 h 3762376"/>
                <a:gd name="connsiteX777" fmla="*/ 1200914 w 6270621"/>
                <a:gd name="connsiteY777" fmla="*/ 1677988 h 3762376"/>
                <a:gd name="connsiteX778" fmla="*/ 1163882 w 6270621"/>
                <a:gd name="connsiteY778" fmla="*/ 1667405 h 3762376"/>
                <a:gd name="connsiteX779" fmla="*/ 1121558 w 6270621"/>
                <a:gd name="connsiteY779" fmla="*/ 1662113 h 3762376"/>
                <a:gd name="connsiteX780" fmla="*/ 1095106 w 6270621"/>
                <a:gd name="connsiteY780" fmla="*/ 1693863 h 3762376"/>
                <a:gd name="connsiteX781" fmla="*/ 1058074 w 6270621"/>
                <a:gd name="connsiteY781" fmla="*/ 1667405 h 3762376"/>
                <a:gd name="connsiteX782" fmla="*/ 1005170 w 6270621"/>
                <a:gd name="connsiteY782" fmla="*/ 1677988 h 3762376"/>
                <a:gd name="connsiteX783" fmla="*/ 968138 w 6270621"/>
                <a:gd name="connsiteY783" fmla="*/ 1699155 h 3762376"/>
                <a:gd name="connsiteX784" fmla="*/ 936395 w 6270621"/>
                <a:gd name="connsiteY784" fmla="*/ 1773238 h 3762376"/>
                <a:gd name="connsiteX785" fmla="*/ 915234 w 6270621"/>
                <a:gd name="connsiteY785" fmla="*/ 1842030 h 3762376"/>
                <a:gd name="connsiteX786" fmla="*/ 946976 w 6270621"/>
                <a:gd name="connsiteY786" fmla="*/ 1937280 h 3762376"/>
                <a:gd name="connsiteX787" fmla="*/ 1015751 w 6270621"/>
                <a:gd name="connsiteY787" fmla="*/ 1947863 h 3762376"/>
                <a:gd name="connsiteX788" fmla="*/ 1058074 w 6270621"/>
                <a:gd name="connsiteY788" fmla="*/ 1916113 h 3762376"/>
                <a:gd name="connsiteX789" fmla="*/ 1079236 w 6270621"/>
                <a:gd name="connsiteY789" fmla="*/ 1889655 h 3762376"/>
                <a:gd name="connsiteX790" fmla="*/ 1116268 w 6270621"/>
                <a:gd name="connsiteY790" fmla="*/ 1873780 h 3762376"/>
                <a:gd name="connsiteX791" fmla="*/ 1132139 w 6270621"/>
                <a:gd name="connsiteY791" fmla="*/ 1905530 h 3762376"/>
                <a:gd name="connsiteX792" fmla="*/ 1105687 w 6270621"/>
                <a:gd name="connsiteY792" fmla="*/ 1958447 h 3762376"/>
                <a:gd name="connsiteX793" fmla="*/ 1079236 w 6270621"/>
                <a:gd name="connsiteY793" fmla="*/ 2006072 h 3762376"/>
                <a:gd name="connsiteX794" fmla="*/ 1137430 w 6270621"/>
                <a:gd name="connsiteY794" fmla="*/ 2027238 h 3762376"/>
                <a:gd name="connsiteX795" fmla="*/ 1179752 w 6270621"/>
                <a:gd name="connsiteY795" fmla="*/ 2032530 h 3762376"/>
                <a:gd name="connsiteX796" fmla="*/ 1163882 w 6270621"/>
                <a:gd name="connsiteY796" fmla="*/ 2106613 h 3762376"/>
                <a:gd name="connsiteX797" fmla="*/ 1185043 w 6270621"/>
                <a:gd name="connsiteY797" fmla="*/ 2154238 h 3762376"/>
                <a:gd name="connsiteX798" fmla="*/ 1227366 w 6270621"/>
                <a:gd name="connsiteY798" fmla="*/ 2175405 h 3762376"/>
                <a:gd name="connsiteX799" fmla="*/ 1280270 w 6270621"/>
                <a:gd name="connsiteY799" fmla="*/ 2164822 h 3762376"/>
                <a:gd name="connsiteX800" fmla="*/ 1317302 w 6270621"/>
                <a:gd name="connsiteY800" fmla="*/ 2180697 h 3762376"/>
                <a:gd name="connsiteX801" fmla="*/ 1364916 w 6270621"/>
                <a:gd name="connsiteY801" fmla="*/ 2127780 h 3762376"/>
                <a:gd name="connsiteX802" fmla="*/ 1417820 w 6270621"/>
                <a:gd name="connsiteY802" fmla="*/ 2133072 h 3762376"/>
                <a:gd name="connsiteX803" fmla="*/ 1444271 w 6270621"/>
                <a:gd name="connsiteY803" fmla="*/ 2111905 h 3762376"/>
                <a:gd name="connsiteX804" fmla="*/ 1476013 w 6270621"/>
                <a:gd name="connsiteY804" fmla="*/ 2148947 h 3762376"/>
                <a:gd name="connsiteX805" fmla="*/ 1518337 w 6270621"/>
                <a:gd name="connsiteY805" fmla="*/ 2138363 h 3762376"/>
                <a:gd name="connsiteX806" fmla="*/ 1550079 w 6270621"/>
                <a:gd name="connsiteY806" fmla="*/ 2154238 h 3762376"/>
                <a:gd name="connsiteX807" fmla="*/ 1592402 w 6270621"/>
                <a:gd name="connsiteY807" fmla="*/ 2143655 h 3762376"/>
                <a:gd name="connsiteX808" fmla="*/ 1640015 w 6270621"/>
                <a:gd name="connsiteY808" fmla="*/ 2180697 h 3762376"/>
                <a:gd name="connsiteX809" fmla="*/ 1698210 w 6270621"/>
                <a:gd name="connsiteY809" fmla="*/ 2238905 h 3762376"/>
                <a:gd name="connsiteX810" fmla="*/ 1756404 w 6270621"/>
                <a:gd name="connsiteY810" fmla="*/ 2238905 h 3762376"/>
                <a:gd name="connsiteX811" fmla="*/ 1825178 w 6270621"/>
                <a:gd name="connsiteY811" fmla="*/ 2275946 h 3762376"/>
                <a:gd name="connsiteX812" fmla="*/ 1851631 w 6270621"/>
                <a:gd name="connsiteY812" fmla="*/ 2344738 h 3762376"/>
                <a:gd name="connsiteX813" fmla="*/ 1835760 w 6270621"/>
                <a:gd name="connsiteY813" fmla="*/ 2381780 h 3762376"/>
                <a:gd name="connsiteX814" fmla="*/ 1920402 w 6270621"/>
                <a:gd name="connsiteY814" fmla="*/ 2392363 h 3762376"/>
                <a:gd name="connsiteX815" fmla="*/ 1962725 w 6270621"/>
                <a:gd name="connsiteY815" fmla="*/ 2439988 h 3762376"/>
                <a:gd name="connsiteX816" fmla="*/ 2042080 w 6270621"/>
                <a:gd name="connsiteY816" fmla="*/ 2439988 h 3762376"/>
                <a:gd name="connsiteX817" fmla="*/ 2100275 w 6270621"/>
                <a:gd name="connsiteY817" fmla="*/ 2482321 h 3762376"/>
                <a:gd name="connsiteX818" fmla="*/ 2147888 w 6270621"/>
                <a:gd name="connsiteY818" fmla="*/ 2477030 h 3762376"/>
                <a:gd name="connsiteX819" fmla="*/ 2163759 w 6270621"/>
                <a:gd name="connsiteY819" fmla="*/ 2519363 h 3762376"/>
                <a:gd name="connsiteX820" fmla="*/ 2153179 w 6270621"/>
                <a:gd name="connsiteY820" fmla="*/ 2588155 h 3762376"/>
                <a:gd name="connsiteX821" fmla="*/ 2094984 w 6270621"/>
                <a:gd name="connsiteY821" fmla="*/ 2662238 h 3762376"/>
                <a:gd name="connsiteX822" fmla="*/ 2094984 w 6270621"/>
                <a:gd name="connsiteY822" fmla="*/ 2731030 h 3762376"/>
                <a:gd name="connsiteX823" fmla="*/ 2068533 w 6270621"/>
                <a:gd name="connsiteY823" fmla="*/ 2799821 h 3762376"/>
                <a:gd name="connsiteX824" fmla="*/ 2047371 w 6270621"/>
                <a:gd name="connsiteY824" fmla="*/ 2858030 h 3762376"/>
                <a:gd name="connsiteX825" fmla="*/ 1999757 w 6270621"/>
                <a:gd name="connsiteY825" fmla="*/ 2873905 h 3762376"/>
                <a:gd name="connsiteX826" fmla="*/ 1952144 w 6270621"/>
                <a:gd name="connsiteY826" fmla="*/ 2895071 h 3762376"/>
                <a:gd name="connsiteX827" fmla="*/ 1915112 w 6270621"/>
                <a:gd name="connsiteY827" fmla="*/ 2942696 h 3762376"/>
                <a:gd name="connsiteX828" fmla="*/ 1915112 w 6270621"/>
                <a:gd name="connsiteY828" fmla="*/ 2990321 h 3762376"/>
                <a:gd name="connsiteX829" fmla="*/ 1867502 w 6270621"/>
                <a:gd name="connsiteY829" fmla="*/ 3069696 h 3762376"/>
                <a:gd name="connsiteX830" fmla="*/ 1825178 w 6270621"/>
                <a:gd name="connsiteY830" fmla="*/ 3154363 h 3762376"/>
                <a:gd name="connsiteX831" fmla="*/ 1745823 w 6270621"/>
                <a:gd name="connsiteY831" fmla="*/ 3138488 h 3762376"/>
                <a:gd name="connsiteX832" fmla="*/ 1793436 w 6270621"/>
                <a:gd name="connsiteY832" fmla="*/ 3191405 h 3762376"/>
                <a:gd name="connsiteX833" fmla="*/ 1772275 w 6270621"/>
                <a:gd name="connsiteY833" fmla="*/ 3244321 h 3762376"/>
                <a:gd name="connsiteX834" fmla="*/ 1714081 w 6270621"/>
                <a:gd name="connsiteY834" fmla="*/ 3265488 h 3762376"/>
                <a:gd name="connsiteX835" fmla="*/ 1698210 w 6270621"/>
                <a:gd name="connsiteY835" fmla="*/ 3318405 h 3762376"/>
                <a:gd name="connsiteX836" fmla="*/ 1655887 w 6270621"/>
                <a:gd name="connsiteY836" fmla="*/ 3334280 h 3762376"/>
                <a:gd name="connsiteX837" fmla="*/ 1671758 w 6270621"/>
                <a:gd name="connsiteY837" fmla="*/ 3403071 h 3762376"/>
                <a:gd name="connsiteX838" fmla="*/ 1640015 w 6270621"/>
                <a:gd name="connsiteY838" fmla="*/ 3445405 h 3762376"/>
                <a:gd name="connsiteX839" fmla="*/ 1677048 w 6270621"/>
                <a:gd name="connsiteY839" fmla="*/ 3498321 h 3762376"/>
                <a:gd name="connsiteX840" fmla="*/ 1640015 w 6270621"/>
                <a:gd name="connsiteY840" fmla="*/ 3577696 h 3762376"/>
                <a:gd name="connsiteX841" fmla="*/ 1650596 w 6270621"/>
                <a:gd name="connsiteY841" fmla="*/ 3635905 h 3762376"/>
                <a:gd name="connsiteX842" fmla="*/ 1735242 w 6270621"/>
                <a:gd name="connsiteY842" fmla="*/ 3694113 h 3762376"/>
                <a:gd name="connsiteX843" fmla="*/ 1634725 w 6270621"/>
                <a:gd name="connsiteY843" fmla="*/ 3694113 h 3762376"/>
                <a:gd name="connsiteX844" fmla="*/ 1565950 w 6270621"/>
                <a:gd name="connsiteY844" fmla="*/ 3625321 h 3762376"/>
                <a:gd name="connsiteX845" fmla="*/ 1523627 w 6270621"/>
                <a:gd name="connsiteY845" fmla="*/ 3545946 h 3762376"/>
                <a:gd name="connsiteX846" fmla="*/ 1523627 w 6270621"/>
                <a:gd name="connsiteY846" fmla="*/ 3429530 h 3762376"/>
                <a:gd name="connsiteX847" fmla="*/ 1491885 w 6270621"/>
                <a:gd name="connsiteY847" fmla="*/ 3344863 h 3762376"/>
                <a:gd name="connsiteX848" fmla="*/ 1476013 w 6270621"/>
                <a:gd name="connsiteY848" fmla="*/ 3265488 h 3762376"/>
                <a:gd name="connsiteX849" fmla="*/ 1491885 w 6270621"/>
                <a:gd name="connsiteY849" fmla="*/ 3170238 h 3762376"/>
                <a:gd name="connsiteX850" fmla="*/ 1470723 w 6270621"/>
                <a:gd name="connsiteY850" fmla="*/ 2895071 h 3762376"/>
                <a:gd name="connsiteX851" fmla="*/ 1454852 w 6270621"/>
                <a:gd name="connsiteY851" fmla="*/ 2789238 h 3762376"/>
                <a:gd name="connsiteX852" fmla="*/ 1354335 w 6270621"/>
                <a:gd name="connsiteY852" fmla="*/ 2725738 h 3762376"/>
                <a:gd name="connsiteX853" fmla="*/ 1296141 w 6270621"/>
                <a:gd name="connsiteY853" fmla="*/ 2651655 h 3762376"/>
                <a:gd name="connsiteX854" fmla="*/ 1248528 w 6270621"/>
                <a:gd name="connsiteY854" fmla="*/ 2529946 h 3762376"/>
                <a:gd name="connsiteX855" fmla="*/ 1222076 w 6270621"/>
                <a:gd name="connsiteY855" fmla="*/ 2529946 h 3762376"/>
                <a:gd name="connsiteX856" fmla="*/ 1211495 w 6270621"/>
                <a:gd name="connsiteY856" fmla="*/ 2477030 h 3762376"/>
                <a:gd name="connsiteX857" fmla="*/ 1237947 w 6270621"/>
                <a:gd name="connsiteY857" fmla="*/ 2445280 h 3762376"/>
                <a:gd name="connsiteX858" fmla="*/ 1227366 w 6270621"/>
                <a:gd name="connsiteY858" fmla="*/ 2392363 h 3762376"/>
                <a:gd name="connsiteX859" fmla="*/ 1280270 w 6270621"/>
                <a:gd name="connsiteY859" fmla="*/ 2323571 h 3762376"/>
                <a:gd name="connsiteX860" fmla="*/ 1296141 w 6270621"/>
                <a:gd name="connsiteY860" fmla="*/ 2223030 h 3762376"/>
                <a:gd name="connsiteX861" fmla="*/ 1280270 w 6270621"/>
                <a:gd name="connsiteY861" fmla="*/ 2185988 h 3762376"/>
                <a:gd name="connsiteX862" fmla="*/ 1259108 w 6270621"/>
                <a:gd name="connsiteY862" fmla="*/ 2180697 h 3762376"/>
                <a:gd name="connsiteX863" fmla="*/ 1227366 w 6270621"/>
                <a:gd name="connsiteY863" fmla="*/ 2212447 h 3762376"/>
                <a:gd name="connsiteX864" fmla="*/ 1179752 w 6270621"/>
                <a:gd name="connsiteY864" fmla="*/ 2185988 h 3762376"/>
                <a:gd name="connsiteX865" fmla="*/ 1116268 w 6270621"/>
                <a:gd name="connsiteY865" fmla="*/ 2127780 h 3762376"/>
                <a:gd name="connsiteX866" fmla="*/ 1073945 w 6270621"/>
                <a:gd name="connsiteY866" fmla="*/ 2053697 h 3762376"/>
                <a:gd name="connsiteX867" fmla="*/ 1010461 w 6270621"/>
                <a:gd name="connsiteY867" fmla="*/ 2053697 h 3762376"/>
                <a:gd name="connsiteX868" fmla="*/ 962847 w 6270621"/>
                <a:gd name="connsiteY868" fmla="*/ 1995488 h 3762376"/>
                <a:gd name="connsiteX869" fmla="*/ 915234 w 6270621"/>
                <a:gd name="connsiteY869" fmla="*/ 2006072 h 3762376"/>
                <a:gd name="connsiteX870" fmla="*/ 867620 w 6270621"/>
                <a:gd name="connsiteY870" fmla="*/ 1984905 h 3762376"/>
                <a:gd name="connsiteX871" fmla="*/ 830588 w 6270621"/>
                <a:gd name="connsiteY871" fmla="*/ 1947863 h 3762376"/>
                <a:gd name="connsiteX872" fmla="*/ 798846 w 6270621"/>
                <a:gd name="connsiteY872" fmla="*/ 1947863 h 3762376"/>
                <a:gd name="connsiteX873" fmla="*/ 756523 w 6270621"/>
                <a:gd name="connsiteY873" fmla="*/ 1900238 h 3762376"/>
                <a:gd name="connsiteX874" fmla="*/ 767104 w 6270621"/>
                <a:gd name="connsiteY874" fmla="*/ 1847322 h 3762376"/>
                <a:gd name="connsiteX875" fmla="*/ 708909 w 6270621"/>
                <a:gd name="connsiteY875" fmla="*/ 1720322 h 3762376"/>
                <a:gd name="connsiteX876" fmla="*/ 671877 w 6270621"/>
                <a:gd name="connsiteY876" fmla="*/ 1651530 h 3762376"/>
                <a:gd name="connsiteX877" fmla="*/ 671877 w 6270621"/>
                <a:gd name="connsiteY877" fmla="*/ 1603905 h 3762376"/>
                <a:gd name="connsiteX878" fmla="*/ 640135 w 6270621"/>
                <a:gd name="connsiteY878" fmla="*/ 1572155 h 3762376"/>
                <a:gd name="connsiteX879" fmla="*/ 645425 w 6270621"/>
                <a:gd name="connsiteY879" fmla="*/ 1646238 h 3762376"/>
                <a:gd name="connsiteX880" fmla="*/ 666586 w 6270621"/>
                <a:gd name="connsiteY880" fmla="*/ 1752072 h 3762376"/>
                <a:gd name="connsiteX881" fmla="*/ 682458 w 6270621"/>
                <a:gd name="connsiteY881" fmla="*/ 1826155 h 3762376"/>
                <a:gd name="connsiteX882" fmla="*/ 634844 w 6270621"/>
                <a:gd name="connsiteY882" fmla="*/ 1767947 h 3762376"/>
                <a:gd name="connsiteX883" fmla="*/ 645425 w 6270621"/>
                <a:gd name="connsiteY883" fmla="*/ 1725613 h 3762376"/>
                <a:gd name="connsiteX884" fmla="*/ 618973 w 6270621"/>
                <a:gd name="connsiteY884" fmla="*/ 1640947 h 3762376"/>
                <a:gd name="connsiteX885" fmla="*/ 597812 w 6270621"/>
                <a:gd name="connsiteY885" fmla="*/ 1535113 h 3762376"/>
                <a:gd name="connsiteX886" fmla="*/ 560779 w 6270621"/>
                <a:gd name="connsiteY886" fmla="*/ 1482197 h 3762376"/>
                <a:gd name="connsiteX887" fmla="*/ 529037 w 6270621"/>
                <a:gd name="connsiteY887" fmla="*/ 1386947 h 3762376"/>
                <a:gd name="connsiteX888" fmla="*/ 566069 w 6270621"/>
                <a:gd name="connsiteY888" fmla="*/ 1233488 h 3762376"/>
                <a:gd name="connsiteX889" fmla="*/ 634844 w 6270621"/>
                <a:gd name="connsiteY889" fmla="*/ 1117071 h 3762376"/>
                <a:gd name="connsiteX890" fmla="*/ 618973 w 6270621"/>
                <a:gd name="connsiteY890" fmla="*/ 1011238 h 3762376"/>
                <a:gd name="connsiteX891" fmla="*/ 613683 w 6270621"/>
                <a:gd name="connsiteY891" fmla="*/ 836613 h 3762376"/>
                <a:gd name="connsiteX892" fmla="*/ 576650 w 6270621"/>
                <a:gd name="connsiteY892" fmla="*/ 714905 h 3762376"/>
                <a:gd name="connsiteX893" fmla="*/ 529037 w 6270621"/>
                <a:gd name="connsiteY893" fmla="*/ 640821 h 3762376"/>
                <a:gd name="connsiteX894" fmla="*/ 470843 w 6270621"/>
                <a:gd name="connsiteY894" fmla="*/ 609071 h 3762376"/>
                <a:gd name="connsiteX895" fmla="*/ 380907 w 6270621"/>
                <a:gd name="connsiteY895" fmla="*/ 598488 h 3762376"/>
                <a:gd name="connsiteX896" fmla="*/ 380907 w 6270621"/>
                <a:gd name="connsiteY896" fmla="*/ 561446 h 3762376"/>
                <a:gd name="connsiteX897" fmla="*/ 322712 w 6270621"/>
                <a:gd name="connsiteY897" fmla="*/ 566738 h 3762376"/>
                <a:gd name="connsiteX898" fmla="*/ 312132 w 6270621"/>
                <a:gd name="connsiteY898" fmla="*/ 635530 h 3762376"/>
                <a:gd name="connsiteX899" fmla="*/ 264518 w 6270621"/>
                <a:gd name="connsiteY899" fmla="*/ 656696 h 3762376"/>
                <a:gd name="connsiteX900" fmla="*/ 132259 w 6270621"/>
                <a:gd name="connsiteY900" fmla="*/ 714905 h 3762376"/>
                <a:gd name="connsiteX901" fmla="*/ 52904 w 6270621"/>
                <a:gd name="connsiteY901" fmla="*/ 714905 h 3762376"/>
                <a:gd name="connsiteX902" fmla="*/ 0 w 6270621"/>
                <a:gd name="connsiteY902" fmla="*/ 746655 h 3762376"/>
                <a:gd name="connsiteX903" fmla="*/ 47613 w 6270621"/>
                <a:gd name="connsiteY903" fmla="*/ 693738 h 3762376"/>
                <a:gd name="connsiteX904" fmla="*/ 116388 w 6270621"/>
                <a:gd name="connsiteY904" fmla="*/ 693738 h 3762376"/>
                <a:gd name="connsiteX905" fmla="*/ 211615 w 6270621"/>
                <a:gd name="connsiteY905" fmla="*/ 635530 h 3762376"/>
                <a:gd name="connsiteX906" fmla="*/ 222195 w 6270621"/>
                <a:gd name="connsiteY906" fmla="*/ 598488 h 3762376"/>
                <a:gd name="connsiteX907" fmla="*/ 169292 w 6270621"/>
                <a:gd name="connsiteY907" fmla="*/ 582613 h 3762376"/>
                <a:gd name="connsiteX908" fmla="*/ 148130 w 6270621"/>
                <a:gd name="connsiteY908" fmla="*/ 540280 h 3762376"/>
                <a:gd name="connsiteX909" fmla="*/ 132259 w 6270621"/>
                <a:gd name="connsiteY909" fmla="*/ 508530 h 3762376"/>
                <a:gd name="connsiteX910" fmla="*/ 153421 w 6270621"/>
                <a:gd name="connsiteY910" fmla="*/ 487363 h 3762376"/>
                <a:gd name="connsiteX911" fmla="*/ 153421 w 6270621"/>
                <a:gd name="connsiteY911" fmla="*/ 439738 h 3762376"/>
                <a:gd name="connsiteX912" fmla="*/ 190453 w 6270621"/>
                <a:gd name="connsiteY912" fmla="*/ 418571 h 3762376"/>
                <a:gd name="connsiteX913" fmla="*/ 269809 w 6270621"/>
                <a:gd name="connsiteY913" fmla="*/ 392113 h 3762376"/>
                <a:gd name="connsiteX914" fmla="*/ 275099 w 6270621"/>
                <a:gd name="connsiteY914" fmla="*/ 370946 h 3762376"/>
                <a:gd name="connsiteX915" fmla="*/ 232776 w 6270621"/>
                <a:gd name="connsiteY915" fmla="*/ 355071 h 3762376"/>
                <a:gd name="connsiteX916" fmla="*/ 211615 w 6270621"/>
                <a:gd name="connsiteY916" fmla="*/ 323321 h 3762376"/>
                <a:gd name="connsiteX917" fmla="*/ 211615 w 6270621"/>
                <a:gd name="connsiteY917" fmla="*/ 291572 h 3762376"/>
                <a:gd name="connsiteX918" fmla="*/ 280390 w 6270621"/>
                <a:gd name="connsiteY918" fmla="*/ 270405 h 3762376"/>
                <a:gd name="connsiteX919" fmla="*/ 322712 w 6270621"/>
                <a:gd name="connsiteY919" fmla="*/ 312738 h 3762376"/>
                <a:gd name="connsiteX920" fmla="*/ 333293 w 6270621"/>
                <a:gd name="connsiteY920" fmla="*/ 280988 h 3762376"/>
                <a:gd name="connsiteX921" fmla="*/ 312132 w 6270621"/>
                <a:gd name="connsiteY921" fmla="*/ 270405 h 3762376"/>
                <a:gd name="connsiteX922" fmla="*/ 312132 w 6270621"/>
                <a:gd name="connsiteY922" fmla="*/ 228072 h 3762376"/>
                <a:gd name="connsiteX923" fmla="*/ 280390 w 6270621"/>
                <a:gd name="connsiteY923" fmla="*/ 196322 h 3762376"/>
                <a:gd name="connsiteX924" fmla="*/ 306841 w 6270621"/>
                <a:gd name="connsiteY924" fmla="*/ 169863 h 3762376"/>
                <a:gd name="connsiteX925" fmla="*/ 359745 w 6270621"/>
                <a:gd name="connsiteY925" fmla="*/ 180446 h 3762376"/>
                <a:gd name="connsiteX926" fmla="*/ 380907 w 6270621"/>
                <a:gd name="connsiteY926" fmla="*/ 159280 h 3762376"/>
                <a:gd name="connsiteX927" fmla="*/ 465552 w 6270621"/>
                <a:gd name="connsiteY927" fmla="*/ 138113 h 3762376"/>
                <a:gd name="connsiteX928" fmla="*/ 4964109 w 6270621"/>
                <a:gd name="connsiteY928" fmla="*/ 106363 h 3762376"/>
                <a:gd name="connsiteX929" fmla="*/ 5000621 w 6270621"/>
                <a:gd name="connsiteY929" fmla="*/ 115888 h 3762376"/>
                <a:gd name="connsiteX930" fmla="*/ 5000621 w 6270621"/>
                <a:gd name="connsiteY930" fmla="*/ 131763 h 3762376"/>
                <a:gd name="connsiteX931" fmla="*/ 4948234 w 6270621"/>
                <a:gd name="connsiteY931" fmla="*/ 138113 h 3762376"/>
                <a:gd name="connsiteX932" fmla="*/ 1222374 w 6270621"/>
                <a:gd name="connsiteY932" fmla="*/ 100013 h 3762376"/>
                <a:gd name="connsiteX933" fmla="*/ 1269999 w 6270621"/>
                <a:gd name="connsiteY933" fmla="*/ 111126 h 3762376"/>
                <a:gd name="connsiteX934" fmla="*/ 1258886 w 6270621"/>
                <a:gd name="connsiteY934" fmla="*/ 138113 h 3762376"/>
                <a:gd name="connsiteX935" fmla="*/ 1243011 w 6270621"/>
                <a:gd name="connsiteY935" fmla="*/ 147638 h 3762376"/>
                <a:gd name="connsiteX936" fmla="*/ 1227136 w 6270621"/>
                <a:gd name="connsiteY936" fmla="*/ 127001 h 3762376"/>
                <a:gd name="connsiteX937" fmla="*/ 1206499 w 6270621"/>
                <a:gd name="connsiteY937" fmla="*/ 142876 h 3762376"/>
                <a:gd name="connsiteX938" fmla="*/ 1231899 w 6270621"/>
                <a:gd name="connsiteY938" fmla="*/ 169863 h 3762376"/>
                <a:gd name="connsiteX939" fmla="*/ 1254124 w 6270621"/>
                <a:gd name="connsiteY939" fmla="*/ 158751 h 3762376"/>
                <a:gd name="connsiteX940" fmla="*/ 1279524 w 6270621"/>
                <a:gd name="connsiteY940" fmla="*/ 179388 h 3762376"/>
                <a:gd name="connsiteX941" fmla="*/ 1290636 w 6270621"/>
                <a:gd name="connsiteY941" fmla="*/ 222251 h 3762376"/>
                <a:gd name="connsiteX942" fmla="*/ 1322386 w 6270621"/>
                <a:gd name="connsiteY942" fmla="*/ 222251 h 3762376"/>
                <a:gd name="connsiteX943" fmla="*/ 1327149 w 6270621"/>
                <a:gd name="connsiteY943" fmla="*/ 201613 h 3762376"/>
                <a:gd name="connsiteX944" fmla="*/ 1327149 w 6270621"/>
                <a:gd name="connsiteY944" fmla="*/ 179388 h 3762376"/>
                <a:gd name="connsiteX945" fmla="*/ 1354137 w 6270621"/>
                <a:gd name="connsiteY945" fmla="*/ 174626 h 3762376"/>
                <a:gd name="connsiteX946" fmla="*/ 1349374 w 6270621"/>
                <a:gd name="connsiteY946" fmla="*/ 206375 h 3762376"/>
                <a:gd name="connsiteX947" fmla="*/ 1370011 w 6270621"/>
                <a:gd name="connsiteY947" fmla="*/ 217488 h 3762376"/>
                <a:gd name="connsiteX948" fmla="*/ 1374774 w 6270621"/>
                <a:gd name="connsiteY948" fmla="*/ 238126 h 3762376"/>
                <a:gd name="connsiteX949" fmla="*/ 1349374 w 6270621"/>
                <a:gd name="connsiteY949" fmla="*/ 265113 h 3762376"/>
                <a:gd name="connsiteX950" fmla="*/ 1311274 w 6270621"/>
                <a:gd name="connsiteY950" fmla="*/ 249238 h 3762376"/>
                <a:gd name="connsiteX951" fmla="*/ 1285874 w 6270621"/>
                <a:gd name="connsiteY951" fmla="*/ 265113 h 3762376"/>
                <a:gd name="connsiteX952" fmla="*/ 1254124 w 6270621"/>
                <a:gd name="connsiteY952" fmla="*/ 258763 h 3762376"/>
                <a:gd name="connsiteX953" fmla="*/ 1238249 w 6270621"/>
                <a:gd name="connsiteY953" fmla="*/ 242888 h 3762376"/>
                <a:gd name="connsiteX954" fmla="*/ 1238249 w 6270621"/>
                <a:gd name="connsiteY954" fmla="*/ 233363 h 3762376"/>
                <a:gd name="connsiteX955" fmla="*/ 1258886 w 6270621"/>
                <a:gd name="connsiteY955" fmla="*/ 233363 h 3762376"/>
                <a:gd name="connsiteX956" fmla="*/ 1247773 w 6270621"/>
                <a:gd name="connsiteY956" fmla="*/ 211138 h 3762376"/>
                <a:gd name="connsiteX957" fmla="*/ 1231899 w 6270621"/>
                <a:gd name="connsiteY957" fmla="*/ 217488 h 3762376"/>
                <a:gd name="connsiteX958" fmla="*/ 1200148 w 6270621"/>
                <a:gd name="connsiteY958" fmla="*/ 201613 h 3762376"/>
                <a:gd name="connsiteX959" fmla="*/ 1200148 w 6270621"/>
                <a:gd name="connsiteY959" fmla="*/ 185738 h 3762376"/>
                <a:gd name="connsiteX960" fmla="*/ 1222374 w 6270621"/>
                <a:gd name="connsiteY960" fmla="*/ 185738 h 3762376"/>
                <a:gd name="connsiteX961" fmla="*/ 1200148 w 6270621"/>
                <a:gd name="connsiteY961" fmla="*/ 158751 h 3762376"/>
                <a:gd name="connsiteX962" fmla="*/ 1168399 w 6270621"/>
                <a:gd name="connsiteY962" fmla="*/ 163513 h 3762376"/>
                <a:gd name="connsiteX963" fmla="*/ 1136649 w 6270621"/>
                <a:gd name="connsiteY963" fmla="*/ 142876 h 3762376"/>
                <a:gd name="connsiteX964" fmla="*/ 1142999 w 6270621"/>
                <a:gd name="connsiteY964" fmla="*/ 122238 h 3762376"/>
                <a:gd name="connsiteX965" fmla="*/ 1195386 w 6270621"/>
                <a:gd name="connsiteY965" fmla="*/ 115888 h 3762376"/>
                <a:gd name="connsiteX966" fmla="*/ 1444624 w 6270621"/>
                <a:gd name="connsiteY966" fmla="*/ 100013 h 3762376"/>
                <a:gd name="connsiteX967" fmla="*/ 1476373 w 6270621"/>
                <a:gd name="connsiteY967" fmla="*/ 106363 h 3762376"/>
                <a:gd name="connsiteX968" fmla="*/ 1517649 w 6270621"/>
                <a:gd name="connsiteY968" fmla="*/ 142876 h 3762376"/>
                <a:gd name="connsiteX969" fmla="*/ 1512886 w 6270621"/>
                <a:gd name="connsiteY969" fmla="*/ 174626 h 3762376"/>
                <a:gd name="connsiteX970" fmla="*/ 1497011 w 6270621"/>
                <a:gd name="connsiteY970" fmla="*/ 174626 h 3762376"/>
                <a:gd name="connsiteX971" fmla="*/ 1485898 w 6270621"/>
                <a:gd name="connsiteY971" fmla="*/ 147638 h 3762376"/>
                <a:gd name="connsiteX972" fmla="*/ 1438273 w 6270621"/>
                <a:gd name="connsiteY972" fmla="*/ 142876 h 3762376"/>
                <a:gd name="connsiteX973" fmla="*/ 1438273 w 6270621"/>
                <a:gd name="connsiteY973" fmla="*/ 131763 h 3762376"/>
                <a:gd name="connsiteX974" fmla="*/ 1460498 w 6270621"/>
                <a:gd name="connsiteY974" fmla="*/ 131763 h 3762376"/>
                <a:gd name="connsiteX975" fmla="*/ 1454148 w 6270621"/>
                <a:gd name="connsiteY975" fmla="*/ 122238 h 3762376"/>
                <a:gd name="connsiteX976" fmla="*/ 1438273 w 6270621"/>
                <a:gd name="connsiteY976" fmla="*/ 111126 h 3762376"/>
                <a:gd name="connsiteX977" fmla="*/ 4260846 w 6270621"/>
                <a:gd name="connsiteY977" fmla="*/ 95250 h 3762376"/>
                <a:gd name="connsiteX978" fmla="*/ 4297358 w 6270621"/>
                <a:gd name="connsiteY978" fmla="*/ 95250 h 3762376"/>
                <a:gd name="connsiteX979" fmla="*/ 4324346 w 6270621"/>
                <a:gd name="connsiteY979" fmla="*/ 106363 h 3762376"/>
                <a:gd name="connsiteX980" fmla="*/ 4324346 w 6270621"/>
                <a:gd name="connsiteY980" fmla="*/ 127001 h 3762376"/>
                <a:gd name="connsiteX981" fmla="*/ 4297358 w 6270621"/>
                <a:gd name="connsiteY981" fmla="*/ 138113 h 3762376"/>
                <a:gd name="connsiteX982" fmla="*/ 4286246 w 6270621"/>
                <a:gd name="connsiteY982" fmla="*/ 153988 h 3762376"/>
                <a:gd name="connsiteX983" fmla="*/ 4276721 w 6270621"/>
                <a:gd name="connsiteY983" fmla="*/ 147638 h 3762376"/>
                <a:gd name="connsiteX984" fmla="*/ 4270371 w 6270621"/>
                <a:gd name="connsiteY984" fmla="*/ 111125 h 3762376"/>
                <a:gd name="connsiteX985" fmla="*/ 4260846 w 6270621"/>
                <a:gd name="connsiteY985" fmla="*/ 100012 h 3762376"/>
                <a:gd name="connsiteX986" fmla="*/ 1353606 w 6270621"/>
                <a:gd name="connsiteY986" fmla="*/ 84138 h 3762376"/>
                <a:gd name="connsiteX987" fmla="*/ 1374773 w 6270621"/>
                <a:gd name="connsiteY987" fmla="*/ 94818 h 3762376"/>
                <a:gd name="connsiteX988" fmla="*/ 1353606 w 6270621"/>
                <a:gd name="connsiteY988" fmla="*/ 137536 h 3762376"/>
                <a:gd name="connsiteX989" fmla="*/ 1316564 w 6270621"/>
                <a:gd name="connsiteY989" fmla="*/ 142876 h 3762376"/>
                <a:gd name="connsiteX990" fmla="*/ 1311273 w 6270621"/>
                <a:gd name="connsiteY990" fmla="*/ 121517 h 3762376"/>
                <a:gd name="connsiteX991" fmla="*/ 1316564 w 6270621"/>
                <a:gd name="connsiteY991" fmla="*/ 94818 h 3762376"/>
                <a:gd name="connsiteX992" fmla="*/ 1353606 w 6270621"/>
                <a:gd name="connsiteY992" fmla="*/ 84138 h 3762376"/>
                <a:gd name="connsiteX993" fmla="*/ 4159246 w 6270621"/>
                <a:gd name="connsiteY993" fmla="*/ 79375 h 3762376"/>
                <a:gd name="connsiteX994" fmla="*/ 4190995 w 6270621"/>
                <a:gd name="connsiteY994" fmla="*/ 79375 h 3762376"/>
                <a:gd name="connsiteX995" fmla="*/ 4197345 w 6270621"/>
                <a:gd name="connsiteY995" fmla="*/ 95250 h 3762376"/>
                <a:gd name="connsiteX996" fmla="*/ 4217983 w 6270621"/>
                <a:gd name="connsiteY996" fmla="*/ 79375 h 3762376"/>
                <a:gd name="connsiteX997" fmla="*/ 4238620 w 6270621"/>
                <a:gd name="connsiteY997" fmla="*/ 84138 h 3762376"/>
                <a:gd name="connsiteX998" fmla="*/ 4249733 w 6270621"/>
                <a:gd name="connsiteY998" fmla="*/ 127001 h 3762376"/>
                <a:gd name="connsiteX999" fmla="*/ 4213220 w 6270621"/>
                <a:gd name="connsiteY999" fmla="*/ 138113 h 3762376"/>
                <a:gd name="connsiteX1000" fmla="*/ 4122733 w 6270621"/>
                <a:gd name="connsiteY1000" fmla="*/ 138113 h 3762376"/>
                <a:gd name="connsiteX1001" fmla="*/ 4111621 w 6270621"/>
                <a:gd name="connsiteY1001" fmla="*/ 131763 h 3762376"/>
                <a:gd name="connsiteX1002" fmla="*/ 4122733 w 6270621"/>
                <a:gd name="connsiteY1002" fmla="*/ 100013 h 3762376"/>
                <a:gd name="connsiteX1003" fmla="*/ 1635123 w 6270621"/>
                <a:gd name="connsiteY1003" fmla="*/ 74613 h 3762376"/>
                <a:gd name="connsiteX1004" fmla="*/ 1671635 w 6270621"/>
                <a:gd name="connsiteY1004" fmla="*/ 127001 h 3762376"/>
                <a:gd name="connsiteX1005" fmla="*/ 1703385 w 6270621"/>
                <a:gd name="connsiteY1005" fmla="*/ 147638 h 3762376"/>
                <a:gd name="connsiteX1006" fmla="*/ 1698622 w 6270621"/>
                <a:gd name="connsiteY1006" fmla="*/ 163513 h 3762376"/>
                <a:gd name="connsiteX1007" fmla="*/ 1682748 w 6270621"/>
                <a:gd name="connsiteY1007" fmla="*/ 179388 h 3762376"/>
                <a:gd name="connsiteX1008" fmla="*/ 1650998 w 6270621"/>
                <a:gd name="connsiteY1008" fmla="*/ 190501 h 3762376"/>
                <a:gd name="connsiteX1009" fmla="*/ 1628773 w 6270621"/>
                <a:gd name="connsiteY1009" fmla="*/ 195263 h 3762376"/>
                <a:gd name="connsiteX1010" fmla="*/ 1592261 w 6270621"/>
                <a:gd name="connsiteY1010" fmla="*/ 158751 h 3762376"/>
                <a:gd name="connsiteX1011" fmla="*/ 1624010 w 6270621"/>
                <a:gd name="connsiteY1011" fmla="*/ 153988 h 3762376"/>
                <a:gd name="connsiteX1012" fmla="*/ 1628773 w 6270621"/>
                <a:gd name="connsiteY1012" fmla="*/ 138113 h 3762376"/>
                <a:gd name="connsiteX1013" fmla="*/ 1603373 w 6270621"/>
                <a:gd name="connsiteY1013" fmla="*/ 142876 h 3762376"/>
                <a:gd name="connsiteX1014" fmla="*/ 1581148 w 6270621"/>
                <a:gd name="connsiteY1014" fmla="*/ 131763 h 3762376"/>
                <a:gd name="connsiteX1015" fmla="*/ 1581148 w 6270621"/>
                <a:gd name="connsiteY1015" fmla="*/ 106363 h 3762376"/>
                <a:gd name="connsiteX1016" fmla="*/ 1612898 w 6270621"/>
                <a:gd name="connsiteY1016" fmla="*/ 106363 h 3762376"/>
                <a:gd name="connsiteX1017" fmla="*/ 1608136 w 6270621"/>
                <a:gd name="connsiteY1017" fmla="*/ 84138 h 3762376"/>
                <a:gd name="connsiteX1018" fmla="*/ 1777725 w 6270621"/>
                <a:gd name="connsiteY1018" fmla="*/ 68263 h 3762376"/>
                <a:gd name="connsiteX1019" fmla="*/ 1825395 w 6270621"/>
                <a:gd name="connsiteY1019" fmla="*/ 94813 h 3762376"/>
                <a:gd name="connsiteX1020" fmla="*/ 1878363 w 6270621"/>
                <a:gd name="connsiteY1020" fmla="*/ 84193 h 3762376"/>
                <a:gd name="connsiteX1021" fmla="*/ 1931327 w 6270621"/>
                <a:gd name="connsiteY1021" fmla="*/ 94813 h 3762376"/>
                <a:gd name="connsiteX1022" fmla="*/ 2042559 w 6270621"/>
                <a:gd name="connsiteY1022" fmla="*/ 131982 h 3762376"/>
                <a:gd name="connsiteX1023" fmla="*/ 2063747 w 6270621"/>
                <a:gd name="connsiteY1023" fmla="*/ 142602 h 3762376"/>
                <a:gd name="connsiteX1024" fmla="*/ 2042559 w 6270621"/>
                <a:gd name="connsiteY1024" fmla="*/ 158531 h 3762376"/>
                <a:gd name="connsiteX1025" fmla="*/ 2005482 w 6270621"/>
                <a:gd name="connsiteY1025" fmla="*/ 158531 h 3762376"/>
                <a:gd name="connsiteX1026" fmla="*/ 1989592 w 6270621"/>
                <a:gd name="connsiteY1026" fmla="*/ 174461 h 3762376"/>
                <a:gd name="connsiteX1027" fmla="*/ 1941921 w 6270621"/>
                <a:gd name="connsiteY1027" fmla="*/ 190391 h 3762376"/>
                <a:gd name="connsiteX1028" fmla="*/ 1910141 w 6270621"/>
                <a:gd name="connsiteY1028" fmla="*/ 211631 h 3762376"/>
                <a:gd name="connsiteX1029" fmla="*/ 1825395 w 6270621"/>
                <a:gd name="connsiteY1029" fmla="*/ 211631 h 3762376"/>
                <a:gd name="connsiteX1030" fmla="*/ 1825395 w 6270621"/>
                <a:gd name="connsiteY1030" fmla="*/ 227560 h 3762376"/>
                <a:gd name="connsiteX1031" fmla="*/ 1857176 w 6270621"/>
                <a:gd name="connsiteY1031" fmla="*/ 238180 h 3762376"/>
                <a:gd name="connsiteX1032" fmla="*/ 1846582 w 6270621"/>
                <a:gd name="connsiteY1032" fmla="*/ 254110 h 3762376"/>
                <a:gd name="connsiteX1033" fmla="*/ 1809505 w 6270621"/>
                <a:gd name="connsiteY1033" fmla="*/ 264730 h 3762376"/>
                <a:gd name="connsiteX1034" fmla="*/ 1788318 w 6270621"/>
                <a:gd name="connsiteY1034" fmla="*/ 280659 h 3762376"/>
                <a:gd name="connsiteX1035" fmla="*/ 1767131 w 6270621"/>
                <a:gd name="connsiteY1035" fmla="*/ 280659 h 3762376"/>
                <a:gd name="connsiteX1036" fmla="*/ 1788318 w 6270621"/>
                <a:gd name="connsiteY1036" fmla="*/ 301899 h 3762376"/>
                <a:gd name="connsiteX1037" fmla="*/ 1772428 w 6270621"/>
                <a:gd name="connsiteY1037" fmla="*/ 317829 h 3762376"/>
                <a:gd name="connsiteX1038" fmla="*/ 1730053 w 6270621"/>
                <a:gd name="connsiteY1038" fmla="*/ 301899 h 3762376"/>
                <a:gd name="connsiteX1039" fmla="*/ 1613525 w 6270621"/>
                <a:gd name="connsiteY1039" fmla="*/ 264730 h 3762376"/>
                <a:gd name="connsiteX1040" fmla="*/ 1587041 w 6270621"/>
                <a:gd name="connsiteY1040" fmla="*/ 275350 h 3762376"/>
                <a:gd name="connsiteX1041" fmla="*/ 1592338 w 6270621"/>
                <a:gd name="connsiteY1041" fmla="*/ 301899 h 3762376"/>
                <a:gd name="connsiteX1042" fmla="*/ 1618822 w 6270621"/>
                <a:gd name="connsiteY1042" fmla="*/ 317829 h 3762376"/>
                <a:gd name="connsiteX1043" fmla="*/ 1666492 w 6270621"/>
                <a:gd name="connsiteY1043" fmla="*/ 328449 h 3762376"/>
                <a:gd name="connsiteX1044" fmla="*/ 1708867 w 6270621"/>
                <a:gd name="connsiteY1044" fmla="*/ 323139 h 3762376"/>
                <a:gd name="connsiteX1045" fmla="*/ 1740647 w 6270621"/>
                <a:gd name="connsiteY1045" fmla="*/ 349688 h 3762376"/>
                <a:gd name="connsiteX1046" fmla="*/ 1735350 w 6270621"/>
                <a:gd name="connsiteY1046" fmla="*/ 370928 h 3762376"/>
                <a:gd name="connsiteX1047" fmla="*/ 1708867 w 6270621"/>
                <a:gd name="connsiteY1047" fmla="*/ 376238 h 3762376"/>
                <a:gd name="connsiteX1048" fmla="*/ 1655899 w 6270621"/>
                <a:gd name="connsiteY1048" fmla="*/ 365618 h 3762376"/>
                <a:gd name="connsiteX1049" fmla="*/ 1592338 w 6270621"/>
                <a:gd name="connsiteY1049" fmla="*/ 344378 h 3762376"/>
                <a:gd name="connsiteX1050" fmla="*/ 1571151 w 6270621"/>
                <a:gd name="connsiteY1050" fmla="*/ 354998 h 3762376"/>
                <a:gd name="connsiteX1051" fmla="*/ 1544667 w 6270621"/>
                <a:gd name="connsiteY1051" fmla="*/ 317829 h 3762376"/>
                <a:gd name="connsiteX1052" fmla="*/ 1555261 w 6270621"/>
                <a:gd name="connsiteY1052" fmla="*/ 275350 h 3762376"/>
                <a:gd name="connsiteX1053" fmla="*/ 1528777 w 6270621"/>
                <a:gd name="connsiteY1053" fmla="*/ 264730 h 3762376"/>
                <a:gd name="connsiteX1054" fmla="*/ 1512887 w 6270621"/>
                <a:gd name="connsiteY1054" fmla="*/ 232870 h 3762376"/>
                <a:gd name="connsiteX1055" fmla="*/ 1549964 w 6270621"/>
                <a:gd name="connsiteY1055" fmla="*/ 222251 h 3762376"/>
                <a:gd name="connsiteX1056" fmla="*/ 1565854 w 6270621"/>
                <a:gd name="connsiteY1056" fmla="*/ 248800 h 3762376"/>
                <a:gd name="connsiteX1057" fmla="*/ 1597635 w 6270621"/>
                <a:gd name="connsiteY1057" fmla="*/ 254110 h 3762376"/>
                <a:gd name="connsiteX1058" fmla="*/ 1629415 w 6270621"/>
                <a:gd name="connsiteY1058" fmla="*/ 248800 h 3762376"/>
                <a:gd name="connsiteX1059" fmla="*/ 1661196 w 6270621"/>
                <a:gd name="connsiteY1059" fmla="*/ 248800 h 3762376"/>
                <a:gd name="connsiteX1060" fmla="*/ 1655899 w 6270621"/>
                <a:gd name="connsiteY1060" fmla="*/ 232870 h 3762376"/>
                <a:gd name="connsiteX1061" fmla="*/ 1682383 w 6270621"/>
                <a:gd name="connsiteY1061" fmla="*/ 222251 h 3762376"/>
                <a:gd name="connsiteX1062" fmla="*/ 1698273 w 6270621"/>
                <a:gd name="connsiteY1062" fmla="*/ 243490 h 3762376"/>
                <a:gd name="connsiteX1063" fmla="*/ 1719460 w 6270621"/>
                <a:gd name="connsiteY1063" fmla="*/ 264730 h 3762376"/>
                <a:gd name="connsiteX1064" fmla="*/ 1740647 w 6270621"/>
                <a:gd name="connsiteY1064" fmla="*/ 264730 h 3762376"/>
                <a:gd name="connsiteX1065" fmla="*/ 1740647 w 6270621"/>
                <a:gd name="connsiteY1065" fmla="*/ 243490 h 3762376"/>
                <a:gd name="connsiteX1066" fmla="*/ 1724757 w 6270621"/>
                <a:gd name="connsiteY1066" fmla="*/ 243490 h 3762376"/>
                <a:gd name="connsiteX1067" fmla="*/ 1708867 w 6270621"/>
                <a:gd name="connsiteY1067" fmla="*/ 232870 h 3762376"/>
                <a:gd name="connsiteX1068" fmla="*/ 1719460 w 6270621"/>
                <a:gd name="connsiteY1068" fmla="*/ 216941 h 3762376"/>
                <a:gd name="connsiteX1069" fmla="*/ 1677086 w 6270621"/>
                <a:gd name="connsiteY1069" fmla="*/ 206321 h 3762376"/>
                <a:gd name="connsiteX1070" fmla="*/ 1698273 w 6270621"/>
                <a:gd name="connsiteY1070" fmla="*/ 190391 h 3762376"/>
                <a:gd name="connsiteX1071" fmla="*/ 1735350 w 6270621"/>
                <a:gd name="connsiteY1071" fmla="*/ 201011 h 3762376"/>
                <a:gd name="connsiteX1072" fmla="*/ 1745944 w 6270621"/>
                <a:gd name="connsiteY1072" fmla="*/ 190391 h 3762376"/>
                <a:gd name="connsiteX1073" fmla="*/ 1724757 w 6270621"/>
                <a:gd name="connsiteY1073" fmla="*/ 158531 h 3762376"/>
                <a:gd name="connsiteX1074" fmla="*/ 1735350 w 6270621"/>
                <a:gd name="connsiteY1074" fmla="*/ 147912 h 3762376"/>
                <a:gd name="connsiteX1075" fmla="*/ 1761835 w 6270621"/>
                <a:gd name="connsiteY1075" fmla="*/ 163841 h 3762376"/>
                <a:gd name="connsiteX1076" fmla="*/ 1772428 w 6270621"/>
                <a:gd name="connsiteY1076" fmla="*/ 179771 h 3762376"/>
                <a:gd name="connsiteX1077" fmla="*/ 1788318 w 6270621"/>
                <a:gd name="connsiteY1077" fmla="*/ 190391 h 3762376"/>
                <a:gd name="connsiteX1078" fmla="*/ 1788318 w 6270621"/>
                <a:gd name="connsiteY1078" fmla="*/ 174461 h 3762376"/>
                <a:gd name="connsiteX1079" fmla="*/ 1825395 w 6270621"/>
                <a:gd name="connsiteY1079" fmla="*/ 163841 h 3762376"/>
                <a:gd name="connsiteX1080" fmla="*/ 1846582 w 6270621"/>
                <a:gd name="connsiteY1080" fmla="*/ 153222 h 3762376"/>
                <a:gd name="connsiteX1081" fmla="*/ 1846582 w 6270621"/>
                <a:gd name="connsiteY1081" fmla="*/ 131982 h 3762376"/>
                <a:gd name="connsiteX1082" fmla="*/ 1830692 w 6270621"/>
                <a:gd name="connsiteY1082" fmla="*/ 131982 h 3762376"/>
                <a:gd name="connsiteX1083" fmla="*/ 1804208 w 6270621"/>
                <a:gd name="connsiteY1083" fmla="*/ 147912 h 3762376"/>
                <a:gd name="connsiteX1084" fmla="*/ 1767131 w 6270621"/>
                <a:gd name="connsiteY1084" fmla="*/ 142602 h 3762376"/>
                <a:gd name="connsiteX1085" fmla="*/ 1745944 w 6270621"/>
                <a:gd name="connsiteY1085" fmla="*/ 131982 h 3762376"/>
                <a:gd name="connsiteX1086" fmla="*/ 1724757 w 6270621"/>
                <a:gd name="connsiteY1086" fmla="*/ 131982 h 3762376"/>
                <a:gd name="connsiteX1087" fmla="*/ 1703570 w 6270621"/>
                <a:gd name="connsiteY1087" fmla="*/ 131982 h 3762376"/>
                <a:gd name="connsiteX1088" fmla="*/ 1692976 w 6270621"/>
                <a:gd name="connsiteY1088" fmla="*/ 110742 h 3762376"/>
                <a:gd name="connsiteX1089" fmla="*/ 1692976 w 6270621"/>
                <a:gd name="connsiteY1089" fmla="*/ 89503 h 3762376"/>
                <a:gd name="connsiteX1090" fmla="*/ 1677086 w 6270621"/>
                <a:gd name="connsiteY1090" fmla="*/ 84193 h 3762376"/>
                <a:gd name="connsiteX1091" fmla="*/ 1682383 w 6270621"/>
                <a:gd name="connsiteY1091" fmla="*/ 78883 h 3762376"/>
                <a:gd name="connsiteX1092" fmla="*/ 1777725 w 6270621"/>
                <a:gd name="connsiteY1092" fmla="*/ 68263 h 3762376"/>
                <a:gd name="connsiteX1093" fmla="*/ 5657276 w 6270621"/>
                <a:gd name="connsiteY1093" fmla="*/ 47625 h 3762376"/>
                <a:gd name="connsiteX1094" fmla="*/ 5673154 w 6270621"/>
                <a:gd name="connsiteY1094" fmla="*/ 68788 h 3762376"/>
                <a:gd name="connsiteX1095" fmla="*/ 5741956 w 6270621"/>
                <a:gd name="connsiteY1095" fmla="*/ 89951 h 3762376"/>
                <a:gd name="connsiteX1096" fmla="*/ 5789588 w 6270621"/>
                <a:gd name="connsiteY1096" fmla="*/ 95242 h 3762376"/>
                <a:gd name="connsiteX1097" fmla="*/ 5805466 w 6270621"/>
                <a:gd name="connsiteY1097" fmla="*/ 111114 h 3762376"/>
                <a:gd name="connsiteX1098" fmla="*/ 5826636 w 6270621"/>
                <a:gd name="connsiteY1098" fmla="*/ 105823 h 3762376"/>
                <a:gd name="connsiteX1099" fmla="*/ 5879561 w 6270621"/>
                <a:gd name="connsiteY1099" fmla="*/ 105823 h 3762376"/>
                <a:gd name="connsiteX1100" fmla="*/ 5911316 w 6270621"/>
                <a:gd name="connsiteY1100" fmla="*/ 116405 h 3762376"/>
                <a:gd name="connsiteX1101" fmla="*/ 5906023 w 6270621"/>
                <a:gd name="connsiteY1101" fmla="*/ 158731 h 3762376"/>
                <a:gd name="connsiteX1102" fmla="*/ 5874268 w 6270621"/>
                <a:gd name="connsiteY1102" fmla="*/ 169313 h 3762376"/>
                <a:gd name="connsiteX1103" fmla="*/ 5895438 w 6270621"/>
                <a:gd name="connsiteY1103" fmla="*/ 179894 h 3762376"/>
                <a:gd name="connsiteX1104" fmla="*/ 5916608 w 6270621"/>
                <a:gd name="connsiteY1104" fmla="*/ 211638 h 3762376"/>
                <a:gd name="connsiteX1105" fmla="*/ 5911316 w 6270621"/>
                <a:gd name="connsiteY1105" fmla="*/ 216929 h 3762376"/>
                <a:gd name="connsiteX1106" fmla="*/ 5879561 w 6270621"/>
                <a:gd name="connsiteY1106" fmla="*/ 216929 h 3762376"/>
                <a:gd name="connsiteX1107" fmla="*/ 5863683 w 6270621"/>
                <a:gd name="connsiteY1107" fmla="*/ 195766 h 3762376"/>
                <a:gd name="connsiteX1108" fmla="*/ 5858391 w 6270621"/>
                <a:gd name="connsiteY1108" fmla="*/ 216929 h 3762376"/>
                <a:gd name="connsiteX1109" fmla="*/ 5837221 w 6270621"/>
                <a:gd name="connsiteY1109" fmla="*/ 206348 h 3762376"/>
                <a:gd name="connsiteX1110" fmla="*/ 5816051 w 6270621"/>
                <a:gd name="connsiteY1110" fmla="*/ 185185 h 3762376"/>
                <a:gd name="connsiteX1111" fmla="*/ 5794881 w 6270621"/>
                <a:gd name="connsiteY1111" fmla="*/ 201057 h 3762376"/>
                <a:gd name="connsiteX1112" fmla="*/ 5773711 w 6270621"/>
                <a:gd name="connsiteY1112" fmla="*/ 185185 h 3762376"/>
                <a:gd name="connsiteX1113" fmla="*/ 5763126 w 6270621"/>
                <a:gd name="connsiteY1113" fmla="*/ 158731 h 3762376"/>
                <a:gd name="connsiteX1114" fmla="*/ 5757833 w 6270621"/>
                <a:gd name="connsiteY1114" fmla="*/ 179894 h 3762376"/>
                <a:gd name="connsiteX1115" fmla="*/ 5773711 w 6270621"/>
                <a:gd name="connsiteY1115" fmla="*/ 206348 h 3762376"/>
                <a:gd name="connsiteX1116" fmla="*/ 5773711 w 6270621"/>
                <a:gd name="connsiteY1116" fmla="*/ 243383 h 3762376"/>
                <a:gd name="connsiteX1117" fmla="*/ 5731371 w 6270621"/>
                <a:gd name="connsiteY1117" fmla="*/ 269837 h 3762376"/>
                <a:gd name="connsiteX1118" fmla="*/ 5768418 w 6270621"/>
                <a:gd name="connsiteY1118" fmla="*/ 269837 h 3762376"/>
                <a:gd name="connsiteX1119" fmla="*/ 5789588 w 6270621"/>
                <a:gd name="connsiteY1119" fmla="*/ 301582 h 3762376"/>
                <a:gd name="connsiteX1120" fmla="*/ 5805466 w 6270621"/>
                <a:gd name="connsiteY1120" fmla="*/ 306872 h 3762376"/>
                <a:gd name="connsiteX1121" fmla="*/ 5831928 w 6270621"/>
                <a:gd name="connsiteY1121" fmla="*/ 317454 h 3762376"/>
                <a:gd name="connsiteX1122" fmla="*/ 5831928 w 6270621"/>
                <a:gd name="connsiteY1122" fmla="*/ 343907 h 3762376"/>
                <a:gd name="connsiteX1123" fmla="*/ 5810758 w 6270621"/>
                <a:gd name="connsiteY1123" fmla="*/ 338617 h 3762376"/>
                <a:gd name="connsiteX1124" fmla="*/ 5784296 w 6270621"/>
                <a:gd name="connsiteY1124" fmla="*/ 365070 h 3762376"/>
                <a:gd name="connsiteX1125" fmla="*/ 5741956 w 6270621"/>
                <a:gd name="connsiteY1125" fmla="*/ 465595 h 3762376"/>
                <a:gd name="connsiteX1126" fmla="*/ 5741956 w 6270621"/>
                <a:gd name="connsiteY1126" fmla="*/ 492049 h 3762376"/>
                <a:gd name="connsiteX1127" fmla="*/ 5715493 w 6270621"/>
                <a:gd name="connsiteY1127" fmla="*/ 476176 h 3762376"/>
                <a:gd name="connsiteX1128" fmla="*/ 5694323 w 6270621"/>
                <a:gd name="connsiteY1128" fmla="*/ 481467 h 3762376"/>
                <a:gd name="connsiteX1129" fmla="*/ 5689031 w 6270621"/>
                <a:gd name="connsiteY1129" fmla="*/ 497339 h 3762376"/>
                <a:gd name="connsiteX1130" fmla="*/ 5678446 w 6270621"/>
                <a:gd name="connsiteY1130" fmla="*/ 518502 h 3762376"/>
                <a:gd name="connsiteX1131" fmla="*/ 5673154 w 6270621"/>
                <a:gd name="connsiteY1131" fmla="*/ 481467 h 3762376"/>
                <a:gd name="connsiteX1132" fmla="*/ 5662569 w 6270621"/>
                <a:gd name="connsiteY1132" fmla="*/ 486758 h 3762376"/>
                <a:gd name="connsiteX1133" fmla="*/ 5657276 w 6270621"/>
                <a:gd name="connsiteY1133" fmla="*/ 529084 h 3762376"/>
                <a:gd name="connsiteX1134" fmla="*/ 5636106 w 6270621"/>
                <a:gd name="connsiteY1134" fmla="*/ 513212 h 3762376"/>
                <a:gd name="connsiteX1135" fmla="*/ 5620229 w 6270621"/>
                <a:gd name="connsiteY1135" fmla="*/ 523793 h 3762376"/>
                <a:gd name="connsiteX1136" fmla="*/ 5636106 w 6270621"/>
                <a:gd name="connsiteY1136" fmla="*/ 576701 h 3762376"/>
                <a:gd name="connsiteX1137" fmla="*/ 5636106 w 6270621"/>
                <a:gd name="connsiteY1137" fmla="*/ 603155 h 3762376"/>
                <a:gd name="connsiteX1138" fmla="*/ 5641399 w 6270621"/>
                <a:gd name="connsiteY1138" fmla="*/ 613736 h 3762376"/>
                <a:gd name="connsiteX1139" fmla="*/ 5657276 w 6270621"/>
                <a:gd name="connsiteY1139" fmla="*/ 608445 h 3762376"/>
                <a:gd name="connsiteX1140" fmla="*/ 5667861 w 6270621"/>
                <a:gd name="connsiteY1140" fmla="*/ 624318 h 3762376"/>
                <a:gd name="connsiteX1141" fmla="*/ 5678446 w 6270621"/>
                <a:gd name="connsiteY1141" fmla="*/ 645481 h 3762376"/>
                <a:gd name="connsiteX1142" fmla="*/ 5689031 w 6270621"/>
                <a:gd name="connsiteY1142" fmla="*/ 650771 h 3762376"/>
                <a:gd name="connsiteX1143" fmla="*/ 5704908 w 6270621"/>
                <a:gd name="connsiteY1143" fmla="*/ 671935 h 3762376"/>
                <a:gd name="connsiteX1144" fmla="*/ 5699616 w 6270621"/>
                <a:gd name="connsiteY1144" fmla="*/ 677225 h 3762376"/>
                <a:gd name="connsiteX1145" fmla="*/ 5683739 w 6270621"/>
                <a:gd name="connsiteY1145" fmla="*/ 661353 h 3762376"/>
                <a:gd name="connsiteX1146" fmla="*/ 5683739 w 6270621"/>
                <a:gd name="connsiteY1146" fmla="*/ 682516 h 3762376"/>
                <a:gd name="connsiteX1147" fmla="*/ 5699616 w 6270621"/>
                <a:gd name="connsiteY1147" fmla="*/ 730133 h 3762376"/>
                <a:gd name="connsiteX1148" fmla="*/ 5689031 w 6270621"/>
                <a:gd name="connsiteY1148" fmla="*/ 746005 h 3762376"/>
                <a:gd name="connsiteX1149" fmla="*/ 5673154 w 6270621"/>
                <a:gd name="connsiteY1149" fmla="*/ 746005 h 3762376"/>
                <a:gd name="connsiteX1150" fmla="*/ 5678446 w 6270621"/>
                <a:gd name="connsiteY1150" fmla="*/ 777750 h 3762376"/>
                <a:gd name="connsiteX1151" fmla="*/ 5667861 w 6270621"/>
                <a:gd name="connsiteY1151" fmla="*/ 793622 h 3762376"/>
                <a:gd name="connsiteX1152" fmla="*/ 5683739 w 6270621"/>
                <a:gd name="connsiteY1152" fmla="*/ 825367 h 3762376"/>
                <a:gd name="connsiteX1153" fmla="*/ 5678446 w 6270621"/>
                <a:gd name="connsiteY1153" fmla="*/ 846530 h 3762376"/>
                <a:gd name="connsiteX1154" fmla="*/ 5678446 w 6270621"/>
                <a:gd name="connsiteY1154" fmla="*/ 878274 h 3762376"/>
                <a:gd name="connsiteX1155" fmla="*/ 5662569 w 6270621"/>
                <a:gd name="connsiteY1155" fmla="*/ 862402 h 3762376"/>
                <a:gd name="connsiteX1156" fmla="*/ 5620229 w 6270621"/>
                <a:gd name="connsiteY1156" fmla="*/ 793622 h 3762376"/>
                <a:gd name="connsiteX1157" fmla="*/ 5567304 w 6270621"/>
                <a:gd name="connsiteY1157" fmla="*/ 719551 h 3762376"/>
                <a:gd name="connsiteX1158" fmla="*/ 5556719 w 6270621"/>
                <a:gd name="connsiteY1158" fmla="*/ 687807 h 3762376"/>
                <a:gd name="connsiteX1159" fmla="*/ 5567304 w 6270621"/>
                <a:gd name="connsiteY1159" fmla="*/ 666644 h 3762376"/>
                <a:gd name="connsiteX1160" fmla="*/ 5551426 w 6270621"/>
                <a:gd name="connsiteY1160" fmla="*/ 645481 h 3762376"/>
                <a:gd name="connsiteX1161" fmla="*/ 5562011 w 6270621"/>
                <a:gd name="connsiteY1161" fmla="*/ 640190 h 3762376"/>
                <a:gd name="connsiteX1162" fmla="*/ 5583181 w 6270621"/>
                <a:gd name="connsiteY1162" fmla="*/ 581992 h 3762376"/>
                <a:gd name="connsiteX1163" fmla="*/ 5588474 w 6270621"/>
                <a:gd name="connsiteY1163" fmla="*/ 507921 h 3762376"/>
                <a:gd name="connsiteX1164" fmla="*/ 5609644 w 6270621"/>
                <a:gd name="connsiteY1164" fmla="*/ 497339 h 3762376"/>
                <a:gd name="connsiteX1165" fmla="*/ 5604351 w 6270621"/>
                <a:gd name="connsiteY1165" fmla="*/ 465595 h 3762376"/>
                <a:gd name="connsiteX1166" fmla="*/ 5593766 w 6270621"/>
                <a:gd name="connsiteY1166" fmla="*/ 439141 h 3762376"/>
                <a:gd name="connsiteX1167" fmla="*/ 5609644 w 6270621"/>
                <a:gd name="connsiteY1167" fmla="*/ 417978 h 3762376"/>
                <a:gd name="connsiteX1168" fmla="*/ 5583181 w 6270621"/>
                <a:gd name="connsiteY1168" fmla="*/ 423269 h 3762376"/>
                <a:gd name="connsiteX1169" fmla="*/ 5572596 w 6270621"/>
                <a:gd name="connsiteY1169" fmla="*/ 444432 h 3762376"/>
                <a:gd name="connsiteX1170" fmla="*/ 5588474 w 6270621"/>
                <a:gd name="connsiteY1170" fmla="*/ 455013 h 3762376"/>
                <a:gd name="connsiteX1171" fmla="*/ 5588474 w 6270621"/>
                <a:gd name="connsiteY1171" fmla="*/ 470886 h 3762376"/>
                <a:gd name="connsiteX1172" fmla="*/ 5572596 w 6270621"/>
                <a:gd name="connsiteY1172" fmla="*/ 476176 h 3762376"/>
                <a:gd name="connsiteX1173" fmla="*/ 5572596 w 6270621"/>
                <a:gd name="connsiteY1173" fmla="*/ 502630 h 3762376"/>
                <a:gd name="connsiteX1174" fmla="*/ 5562011 w 6270621"/>
                <a:gd name="connsiteY1174" fmla="*/ 518502 h 3762376"/>
                <a:gd name="connsiteX1175" fmla="*/ 5535549 w 6270621"/>
                <a:gd name="connsiteY1175" fmla="*/ 497339 h 3762376"/>
                <a:gd name="connsiteX1176" fmla="*/ 5524964 w 6270621"/>
                <a:gd name="connsiteY1176" fmla="*/ 460304 h 3762376"/>
                <a:gd name="connsiteX1177" fmla="*/ 5482624 w 6270621"/>
                <a:gd name="connsiteY1177" fmla="*/ 507921 h 3762376"/>
                <a:gd name="connsiteX1178" fmla="*/ 5482624 w 6270621"/>
                <a:gd name="connsiteY1178" fmla="*/ 550247 h 3762376"/>
                <a:gd name="connsiteX1179" fmla="*/ 5482624 w 6270621"/>
                <a:gd name="connsiteY1179" fmla="*/ 581992 h 3762376"/>
                <a:gd name="connsiteX1180" fmla="*/ 5509086 w 6270621"/>
                <a:gd name="connsiteY1180" fmla="*/ 587282 h 3762376"/>
                <a:gd name="connsiteX1181" fmla="*/ 5487916 w 6270621"/>
                <a:gd name="connsiteY1181" fmla="*/ 608445 h 3762376"/>
                <a:gd name="connsiteX1182" fmla="*/ 5445576 w 6270621"/>
                <a:gd name="connsiteY1182" fmla="*/ 624318 h 3762376"/>
                <a:gd name="connsiteX1183" fmla="*/ 5424406 w 6270621"/>
                <a:gd name="connsiteY1183" fmla="*/ 608445 h 3762376"/>
                <a:gd name="connsiteX1184" fmla="*/ 5392651 w 6270621"/>
                <a:gd name="connsiteY1184" fmla="*/ 608445 h 3762376"/>
                <a:gd name="connsiteX1185" fmla="*/ 5387359 w 6270621"/>
                <a:gd name="connsiteY1185" fmla="*/ 629608 h 3762376"/>
                <a:gd name="connsiteX1186" fmla="*/ 5360896 w 6270621"/>
                <a:gd name="connsiteY1186" fmla="*/ 640190 h 3762376"/>
                <a:gd name="connsiteX1187" fmla="*/ 5313264 w 6270621"/>
                <a:gd name="connsiteY1187" fmla="*/ 640190 h 3762376"/>
                <a:gd name="connsiteX1188" fmla="*/ 5281509 w 6270621"/>
                <a:gd name="connsiteY1188" fmla="*/ 656062 h 3762376"/>
                <a:gd name="connsiteX1189" fmla="*/ 5265631 w 6270621"/>
                <a:gd name="connsiteY1189" fmla="*/ 746005 h 3762376"/>
                <a:gd name="connsiteX1190" fmla="*/ 5255046 w 6270621"/>
                <a:gd name="connsiteY1190" fmla="*/ 788331 h 3762376"/>
                <a:gd name="connsiteX1191" fmla="*/ 5244461 w 6270621"/>
                <a:gd name="connsiteY1191" fmla="*/ 820076 h 3762376"/>
                <a:gd name="connsiteX1192" fmla="*/ 5223291 w 6270621"/>
                <a:gd name="connsiteY1192" fmla="*/ 846530 h 3762376"/>
                <a:gd name="connsiteX1193" fmla="*/ 5249754 w 6270621"/>
                <a:gd name="connsiteY1193" fmla="*/ 846530 h 3762376"/>
                <a:gd name="connsiteX1194" fmla="*/ 5286801 w 6270621"/>
                <a:gd name="connsiteY1194" fmla="*/ 867693 h 3762376"/>
                <a:gd name="connsiteX1195" fmla="*/ 5302679 w 6270621"/>
                <a:gd name="connsiteY1195" fmla="*/ 862402 h 3762376"/>
                <a:gd name="connsiteX1196" fmla="*/ 5297386 w 6270621"/>
                <a:gd name="connsiteY1196" fmla="*/ 841239 h 3762376"/>
                <a:gd name="connsiteX1197" fmla="*/ 5318556 w 6270621"/>
                <a:gd name="connsiteY1197" fmla="*/ 841239 h 3762376"/>
                <a:gd name="connsiteX1198" fmla="*/ 5355604 w 6270621"/>
                <a:gd name="connsiteY1198" fmla="*/ 867693 h 3762376"/>
                <a:gd name="connsiteX1199" fmla="*/ 5366189 w 6270621"/>
                <a:gd name="connsiteY1199" fmla="*/ 894147 h 3762376"/>
                <a:gd name="connsiteX1200" fmla="*/ 5387359 w 6270621"/>
                <a:gd name="connsiteY1200" fmla="*/ 910019 h 3762376"/>
                <a:gd name="connsiteX1201" fmla="*/ 5387359 w 6270621"/>
                <a:gd name="connsiteY1201" fmla="*/ 941764 h 3762376"/>
                <a:gd name="connsiteX1202" fmla="*/ 5419114 w 6270621"/>
                <a:gd name="connsiteY1202" fmla="*/ 1036997 h 3762376"/>
                <a:gd name="connsiteX1203" fmla="*/ 5403236 w 6270621"/>
                <a:gd name="connsiteY1203" fmla="*/ 1089905 h 3762376"/>
                <a:gd name="connsiteX1204" fmla="*/ 5403236 w 6270621"/>
                <a:gd name="connsiteY1204" fmla="*/ 1111068 h 3762376"/>
                <a:gd name="connsiteX1205" fmla="*/ 5397944 w 6270621"/>
                <a:gd name="connsiteY1205" fmla="*/ 1169266 h 3762376"/>
                <a:gd name="connsiteX1206" fmla="*/ 5376774 w 6270621"/>
                <a:gd name="connsiteY1206" fmla="*/ 1222174 h 3762376"/>
                <a:gd name="connsiteX1207" fmla="*/ 5345019 w 6270621"/>
                <a:gd name="connsiteY1207" fmla="*/ 1232755 h 3762376"/>
                <a:gd name="connsiteX1208" fmla="*/ 5329141 w 6270621"/>
                <a:gd name="connsiteY1208" fmla="*/ 1216883 h 3762376"/>
                <a:gd name="connsiteX1209" fmla="*/ 5318556 w 6270621"/>
                <a:gd name="connsiteY1209" fmla="*/ 1232755 h 3762376"/>
                <a:gd name="connsiteX1210" fmla="*/ 5329141 w 6270621"/>
                <a:gd name="connsiteY1210" fmla="*/ 1238046 h 3762376"/>
                <a:gd name="connsiteX1211" fmla="*/ 5318556 w 6270621"/>
                <a:gd name="connsiteY1211" fmla="*/ 1248628 h 3762376"/>
                <a:gd name="connsiteX1212" fmla="*/ 5313264 w 6270621"/>
                <a:gd name="connsiteY1212" fmla="*/ 1275081 h 3762376"/>
                <a:gd name="connsiteX1213" fmla="*/ 5313264 w 6270621"/>
                <a:gd name="connsiteY1213" fmla="*/ 1296245 h 3762376"/>
                <a:gd name="connsiteX1214" fmla="*/ 5297386 w 6270621"/>
                <a:gd name="connsiteY1214" fmla="*/ 1317408 h 3762376"/>
                <a:gd name="connsiteX1215" fmla="*/ 5297386 w 6270621"/>
                <a:gd name="connsiteY1215" fmla="*/ 1338571 h 3762376"/>
                <a:gd name="connsiteX1216" fmla="*/ 5323849 w 6270621"/>
                <a:gd name="connsiteY1216" fmla="*/ 1359734 h 3762376"/>
                <a:gd name="connsiteX1217" fmla="*/ 5366189 w 6270621"/>
                <a:gd name="connsiteY1217" fmla="*/ 1402060 h 3762376"/>
                <a:gd name="connsiteX1218" fmla="*/ 5366189 w 6270621"/>
                <a:gd name="connsiteY1218" fmla="*/ 1433804 h 3762376"/>
                <a:gd name="connsiteX1219" fmla="*/ 5350311 w 6270621"/>
                <a:gd name="connsiteY1219" fmla="*/ 1465549 h 3762376"/>
                <a:gd name="connsiteX1220" fmla="*/ 5318556 w 6270621"/>
                <a:gd name="connsiteY1220" fmla="*/ 1476130 h 3762376"/>
                <a:gd name="connsiteX1221" fmla="*/ 5307971 w 6270621"/>
                <a:gd name="connsiteY1221" fmla="*/ 1465549 h 3762376"/>
                <a:gd name="connsiteX1222" fmla="*/ 5302679 w 6270621"/>
                <a:gd name="connsiteY1222" fmla="*/ 1439095 h 3762376"/>
                <a:gd name="connsiteX1223" fmla="*/ 5297386 w 6270621"/>
                <a:gd name="connsiteY1223" fmla="*/ 1412641 h 3762376"/>
                <a:gd name="connsiteX1224" fmla="*/ 5297386 w 6270621"/>
                <a:gd name="connsiteY1224" fmla="*/ 1396769 h 3762376"/>
                <a:gd name="connsiteX1225" fmla="*/ 5281509 w 6270621"/>
                <a:gd name="connsiteY1225" fmla="*/ 1391478 h 3762376"/>
                <a:gd name="connsiteX1226" fmla="*/ 5255046 w 6270621"/>
                <a:gd name="connsiteY1226" fmla="*/ 1380897 h 3762376"/>
                <a:gd name="connsiteX1227" fmla="*/ 5249754 w 6270621"/>
                <a:gd name="connsiteY1227" fmla="*/ 1354443 h 3762376"/>
                <a:gd name="connsiteX1228" fmla="*/ 5255046 w 6270621"/>
                <a:gd name="connsiteY1228" fmla="*/ 1338571 h 3762376"/>
                <a:gd name="connsiteX1229" fmla="*/ 5233876 w 6270621"/>
                <a:gd name="connsiteY1229" fmla="*/ 1333280 h 3762376"/>
                <a:gd name="connsiteX1230" fmla="*/ 5202122 w 6270621"/>
                <a:gd name="connsiteY1230" fmla="*/ 1343861 h 3762376"/>
                <a:gd name="connsiteX1231" fmla="*/ 5186244 w 6270621"/>
                <a:gd name="connsiteY1231" fmla="*/ 1359734 h 3762376"/>
                <a:gd name="connsiteX1232" fmla="*/ 5175659 w 6270621"/>
                <a:gd name="connsiteY1232" fmla="*/ 1343861 h 3762376"/>
                <a:gd name="connsiteX1233" fmla="*/ 5180952 w 6270621"/>
                <a:gd name="connsiteY1233" fmla="*/ 1322698 h 3762376"/>
                <a:gd name="connsiteX1234" fmla="*/ 5180952 w 6270621"/>
                <a:gd name="connsiteY1234" fmla="*/ 1306826 h 3762376"/>
                <a:gd name="connsiteX1235" fmla="*/ 5159782 w 6270621"/>
                <a:gd name="connsiteY1235" fmla="*/ 1317408 h 3762376"/>
                <a:gd name="connsiteX1236" fmla="*/ 5143904 w 6270621"/>
                <a:gd name="connsiteY1236" fmla="*/ 1338571 h 3762376"/>
                <a:gd name="connsiteX1237" fmla="*/ 5133319 w 6270621"/>
                <a:gd name="connsiteY1237" fmla="*/ 1349152 h 3762376"/>
                <a:gd name="connsiteX1238" fmla="*/ 5133319 w 6270621"/>
                <a:gd name="connsiteY1238" fmla="*/ 1365024 h 3762376"/>
                <a:gd name="connsiteX1239" fmla="*/ 5112149 w 6270621"/>
                <a:gd name="connsiteY1239" fmla="*/ 1359734 h 3762376"/>
                <a:gd name="connsiteX1240" fmla="*/ 5106857 w 6270621"/>
                <a:gd name="connsiteY1240" fmla="*/ 1370315 h 3762376"/>
                <a:gd name="connsiteX1241" fmla="*/ 5122734 w 6270621"/>
                <a:gd name="connsiteY1241" fmla="*/ 1396769 h 3762376"/>
                <a:gd name="connsiteX1242" fmla="*/ 5133319 w 6270621"/>
                <a:gd name="connsiteY1242" fmla="*/ 1412641 h 3762376"/>
                <a:gd name="connsiteX1243" fmla="*/ 5170367 w 6270621"/>
                <a:gd name="connsiteY1243" fmla="*/ 1412641 h 3762376"/>
                <a:gd name="connsiteX1244" fmla="*/ 5180952 w 6270621"/>
                <a:gd name="connsiteY1244" fmla="*/ 1391478 h 3762376"/>
                <a:gd name="connsiteX1245" fmla="*/ 5196829 w 6270621"/>
                <a:gd name="connsiteY1245" fmla="*/ 1402060 h 3762376"/>
                <a:gd name="connsiteX1246" fmla="*/ 5223291 w 6270621"/>
                <a:gd name="connsiteY1246" fmla="*/ 1396769 h 3762376"/>
                <a:gd name="connsiteX1247" fmla="*/ 5223291 w 6270621"/>
                <a:gd name="connsiteY1247" fmla="*/ 1417932 h 3762376"/>
                <a:gd name="connsiteX1248" fmla="*/ 5196829 w 6270621"/>
                <a:gd name="connsiteY1248" fmla="*/ 1423223 h 3762376"/>
                <a:gd name="connsiteX1249" fmla="*/ 5175659 w 6270621"/>
                <a:gd name="connsiteY1249" fmla="*/ 1449677 h 3762376"/>
                <a:gd name="connsiteX1250" fmla="*/ 5180952 w 6270621"/>
                <a:gd name="connsiteY1250" fmla="*/ 1481421 h 3762376"/>
                <a:gd name="connsiteX1251" fmla="*/ 5217999 w 6270621"/>
                <a:gd name="connsiteY1251" fmla="*/ 1523747 h 3762376"/>
                <a:gd name="connsiteX1252" fmla="*/ 5233876 w 6270621"/>
                <a:gd name="connsiteY1252" fmla="*/ 1534329 h 3762376"/>
                <a:gd name="connsiteX1253" fmla="*/ 5260339 w 6270621"/>
                <a:gd name="connsiteY1253" fmla="*/ 1566073 h 3762376"/>
                <a:gd name="connsiteX1254" fmla="*/ 5244461 w 6270621"/>
                <a:gd name="connsiteY1254" fmla="*/ 1597818 h 3762376"/>
                <a:gd name="connsiteX1255" fmla="*/ 5270924 w 6270621"/>
                <a:gd name="connsiteY1255" fmla="*/ 1597818 h 3762376"/>
                <a:gd name="connsiteX1256" fmla="*/ 5270924 w 6270621"/>
                <a:gd name="connsiteY1256" fmla="*/ 1640144 h 3762376"/>
                <a:gd name="connsiteX1257" fmla="*/ 5255046 w 6270621"/>
                <a:gd name="connsiteY1257" fmla="*/ 1666598 h 3762376"/>
                <a:gd name="connsiteX1258" fmla="*/ 5255046 w 6270621"/>
                <a:gd name="connsiteY1258" fmla="*/ 1698342 h 3762376"/>
                <a:gd name="connsiteX1259" fmla="*/ 5223291 w 6270621"/>
                <a:gd name="connsiteY1259" fmla="*/ 1761831 h 3762376"/>
                <a:gd name="connsiteX1260" fmla="*/ 5186244 w 6270621"/>
                <a:gd name="connsiteY1260" fmla="*/ 1798867 h 3762376"/>
                <a:gd name="connsiteX1261" fmla="*/ 5101564 w 6270621"/>
                <a:gd name="connsiteY1261" fmla="*/ 1835902 h 3762376"/>
                <a:gd name="connsiteX1262" fmla="*/ 5085687 w 6270621"/>
                <a:gd name="connsiteY1262" fmla="*/ 1857065 h 3762376"/>
                <a:gd name="connsiteX1263" fmla="*/ 5096272 w 6270621"/>
                <a:gd name="connsiteY1263" fmla="*/ 1883519 h 3762376"/>
                <a:gd name="connsiteX1264" fmla="*/ 5112149 w 6270621"/>
                <a:gd name="connsiteY1264" fmla="*/ 1899391 h 3762376"/>
                <a:gd name="connsiteX1265" fmla="*/ 5096272 w 6270621"/>
                <a:gd name="connsiteY1265" fmla="*/ 1931136 h 3762376"/>
                <a:gd name="connsiteX1266" fmla="*/ 5075102 w 6270621"/>
                <a:gd name="connsiteY1266" fmla="*/ 1925845 h 3762376"/>
                <a:gd name="connsiteX1267" fmla="*/ 5064517 w 6270621"/>
                <a:gd name="connsiteY1267" fmla="*/ 1899391 h 3762376"/>
                <a:gd name="connsiteX1268" fmla="*/ 5075102 w 6270621"/>
                <a:gd name="connsiteY1268" fmla="*/ 1883519 h 3762376"/>
                <a:gd name="connsiteX1269" fmla="*/ 5075102 w 6270621"/>
                <a:gd name="connsiteY1269" fmla="*/ 1851774 h 3762376"/>
                <a:gd name="connsiteX1270" fmla="*/ 5064517 w 6270621"/>
                <a:gd name="connsiteY1270" fmla="*/ 1835902 h 3762376"/>
                <a:gd name="connsiteX1271" fmla="*/ 5032762 w 6270621"/>
                <a:gd name="connsiteY1271" fmla="*/ 1841193 h 3762376"/>
                <a:gd name="connsiteX1272" fmla="*/ 5022177 w 6270621"/>
                <a:gd name="connsiteY1272" fmla="*/ 1867647 h 3762376"/>
                <a:gd name="connsiteX1273" fmla="*/ 5001007 w 6270621"/>
                <a:gd name="connsiteY1273" fmla="*/ 1878228 h 3762376"/>
                <a:gd name="connsiteX1274" fmla="*/ 5001007 w 6270621"/>
                <a:gd name="connsiteY1274" fmla="*/ 1909973 h 3762376"/>
                <a:gd name="connsiteX1275" fmla="*/ 5022177 w 6270621"/>
                <a:gd name="connsiteY1275" fmla="*/ 1936426 h 3762376"/>
                <a:gd name="connsiteX1276" fmla="*/ 5032762 w 6270621"/>
                <a:gd name="connsiteY1276" fmla="*/ 1957589 h 3762376"/>
                <a:gd name="connsiteX1277" fmla="*/ 5048639 w 6270621"/>
                <a:gd name="connsiteY1277" fmla="*/ 1962880 h 3762376"/>
                <a:gd name="connsiteX1278" fmla="*/ 5085687 w 6270621"/>
                <a:gd name="connsiteY1278" fmla="*/ 2005206 h 3762376"/>
                <a:gd name="connsiteX1279" fmla="*/ 5096272 w 6270621"/>
                <a:gd name="connsiteY1279" fmla="*/ 2052823 h 3762376"/>
                <a:gd name="connsiteX1280" fmla="*/ 5096272 w 6270621"/>
                <a:gd name="connsiteY1280" fmla="*/ 2095149 h 3762376"/>
                <a:gd name="connsiteX1281" fmla="*/ 5075102 w 6270621"/>
                <a:gd name="connsiteY1281" fmla="*/ 2111022 h 3762376"/>
                <a:gd name="connsiteX1282" fmla="*/ 5048639 w 6270621"/>
                <a:gd name="connsiteY1282" fmla="*/ 2121603 h 3762376"/>
                <a:gd name="connsiteX1283" fmla="*/ 5043347 w 6270621"/>
                <a:gd name="connsiteY1283" fmla="*/ 2142766 h 3762376"/>
                <a:gd name="connsiteX1284" fmla="*/ 5016884 w 6270621"/>
                <a:gd name="connsiteY1284" fmla="*/ 2163929 h 3762376"/>
                <a:gd name="connsiteX1285" fmla="*/ 5001007 w 6270621"/>
                <a:gd name="connsiteY1285" fmla="*/ 2148057 h 3762376"/>
                <a:gd name="connsiteX1286" fmla="*/ 5001007 w 6270621"/>
                <a:gd name="connsiteY1286" fmla="*/ 2126894 h 3762376"/>
                <a:gd name="connsiteX1287" fmla="*/ 4990422 w 6270621"/>
                <a:gd name="connsiteY1287" fmla="*/ 2111022 h 3762376"/>
                <a:gd name="connsiteX1288" fmla="*/ 4974544 w 6270621"/>
                <a:gd name="connsiteY1288" fmla="*/ 2105731 h 3762376"/>
                <a:gd name="connsiteX1289" fmla="*/ 4969252 w 6270621"/>
                <a:gd name="connsiteY1289" fmla="*/ 2079277 h 3762376"/>
                <a:gd name="connsiteX1290" fmla="*/ 4942789 w 6270621"/>
                <a:gd name="connsiteY1290" fmla="*/ 2063405 h 3762376"/>
                <a:gd name="connsiteX1291" fmla="*/ 4926912 w 6270621"/>
                <a:gd name="connsiteY1291" fmla="*/ 2063405 h 3762376"/>
                <a:gd name="connsiteX1292" fmla="*/ 4921619 w 6270621"/>
                <a:gd name="connsiteY1292" fmla="*/ 2042242 h 3762376"/>
                <a:gd name="connsiteX1293" fmla="*/ 4911035 w 6270621"/>
                <a:gd name="connsiteY1293" fmla="*/ 2031660 h 3762376"/>
                <a:gd name="connsiteX1294" fmla="*/ 4900450 w 6270621"/>
                <a:gd name="connsiteY1294" fmla="*/ 2047532 h 3762376"/>
                <a:gd name="connsiteX1295" fmla="*/ 4905742 w 6270621"/>
                <a:gd name="connsiteY1295" fmla="*/ 2073986 h 3762376"/>
                <a:gd name="connsiteX1296" fmla="*/ 4900450 w 6270621"/>
                <a:gd name="connsiteY1296" fmla="*/ 2105731 h 3762376"/>
                <a:gd name="connsiteX1297" fmla="*/ 4900450 w 6270621"/>
                <a:gd name="connsiteY1297" fmla="*/ 2137475 h 3762376"/>
                <a:gd name="connsiteX1298" fmla="*/ 4926912 w 6270621"/>
                <a:gd name="connsiteY1298" fmla="*/ 2185092 h 3762376"/>
                <a:gd name="connsiteX1299" fmla="*/ 4958667 w 6270621"/>
                <a:gd name="connsiteY1299" fmla="*/ 2222127 h 3762376"/>
                <a:gd name="connsiteX1300" fmla="*/ 4985129 w 6270621"/>
                <a:gd name="connsiteY1300" fmla="*/ 2248581 h 3762376"/>
                <a:gd name="connsiteX1301" fmla="*/ 4985129 w 6270621"/>
                <a:gd name="connsiteY1301" fmla="*/ 2285617 h 3762376"/>
                <a:gd name="connsiteX1302" fmla="*/ 5001007 w 6270621"/>
                <a:gd name="connsiteY1302" fmla="*/ 2333233 h 3762376"/>
                <a:gd name="connsiteX1303" fmla="*/ 4995714 w 6270621"/>
                <a:gd name="connsiteY1303" fmla="*/ 2338524 h 3762376"/>
                <a:gd name="connsiteX1304" fmla="*/ 4974544 w 6270621"/>
                <a:gd name="connsiteY1304" fmla="*/ 2327943 h 3762376"/>
                <a:gd name="connsiteX1305" fmla="*/ 4937497 w 6270621"/>
                <a:gd name="connsiteY1305" fmla="*/ 2301489 h 3762376"/>
                <a:gd name="connsiteX1306" fmla="*/ 4926912 w 6270621"/>
                <a:gd name="connsiteY1306" fmla="*/ 2264454 h 3762376"/>
                <a:gd name="connsiteX1307" fmla="*/ 4926912 w 6270621"/>
                <a:gd name="connsiteY1307" fmla="*/ 2227418 h 3762376"/>
                <a:gd name="connsiteX1308" fmla="*/ 4895157 w 6270621"/>
                <a:gd name="connsiteY1308" fmla="*/ 2185092 h 3762376"/>
                <a:gd name="connsiteX1309" fmla="*/ 4879280 w 6270621"/>
                <a:gd name="connsiteY1309" fmla="*/ 2174511 h 3762376"/>
                <a:gd name="connsiteX1310" fmla="*/ 4879280 w 6270621"/>
                <a:gd name="connsiteY1310" fmla="*/ 2163929 h 3762376"/>
                <a:gd name="connsiteX1311" fmla="*/ 4879280 w 6270621"/>
                <a:gd name="connsiteY1311" fmla="*/ 2132185 h 3762376"/>
                <a:gd name="connsiteX1312" fmla="*/ 4879280 w 6270621"/>
                <a:gd name="connsiteY1312" fmla="*/ 2100440 h 3762376"/>
                <a:gd name="connsiteX1313" fmla="*/ 4868695 w 6270621"/>
                <a:gd name="connsiteY1313" fmla="*/ 2079277 h 3762376"/>
                <a:gd name="connsiteX1314" fmla="*/ 4879280 w 6270621"/>
                <a:gd name="connsiteY1314" fmla="*/ 2068695 h 3762376"/>
                <a:gd name="connsiteX1315" fmla="*/ 4873987 w 6270621"/>
                <a:gd name="connsiteY1315" fmla="*/ 2058114 h 3762376"/>
                <a:gd name="connsiteX1316" fmla="*/ 4852817 w 6270621"/>
                <a:gd name="connsiteY1316" fmla="*/ 2031660 h 3762376"/>
                <a:gd name="connsiteX1317" fmla="*/ 4842232 w 6270621"/>
                <a:gd name="connsiteY1317" fmla="*/ 1978753 h 3762376"/>
                <a:gd name="connsiteX1318" fmla="*/ 4826355 w 6270621"/>
                <a:gd name="connsiteY1318" fmla="*/ 1957589 h 3762376"/>
                <a:gd name="connsiteX1319" fmla="*/ 4826355 w 6270621"/>
                <a:gd name="connsiteY1319" fmla="*/ 1978753 h 3762376"/>
                <a:gd name="connsiteX1320" fmla="*/ 4794600 w 6270621"/>
                <a:gd name="connsiteY1320" fmla="*/ 1999916 h 3762376"/>
                <a:gd name="connsiteX1321" fmla="*/ 4784015 w 6270621"/>
                <a:gd name="connsiteY1321" fmla="*/ 1984043 h 3762376"/>
                <a:gd name="connsiteX1322" fmla="*/ 4784015 w 6270621"/>
                <a:gd name="connsiteY1322" fmla="*/ 1947008 h 3762376"/>
                <a:gd name="connsiteX1323" fmla="*/ 4762845 w 6270621"/>
                <a:gd name="connsiteY1323" fmla="*/ 1920554 h 3762376"/>
                <a:gd name="connsiteX1324" fmla="*/ 4725797 w 6270621"/>
                <a:gd name="connsiteY1324" fmla="*/ 1883519 h 3762376"/>
                <a:gd name="connsiteX1325" fmla="*/ 4725797 w 6270621"/>
                <a:gd name="connsiteY1325" fmla="*/ 1862356 h 3762376"/>
                <a:gd name="connsiteX1326" fmla="*/ 4704627 w 6270621"/>
                <a:gd name="connsiteY1326" fmla="*/ 1851774 h 3762376"/>
                <a:gd name="connsiteX1327" fmla="*/ 4667580 w 6270621"/>
                <a:gd name="connsiteY1327" fmla="*/ 1862356 h 3762376"/>
                <a:gd name="connsiteX1328" fmla="*/ 4646410 w 6270621"/>
                <a:gd name="connsiteY1328" fmla="*/ 1851774 h 3762376"/>
                <a:gd name="connsiteX1329" fmla="*/ 4625240 w 6270621"/>
                <a:gd name="connsiteY1329" fmla="*/ 1872937 h 3762376"/>
                <a:gd name="connsiteX1330" fmla="*/ 4630532 w 6270621"/>
                <a:gd name="connsiteY1330" fmla="*/ 1888810 h 3762376"/>
                <a:gd name="connsiteX1331" fmla="*/ 4593485 w 6270621"/>
                <a:gd name="connsiteY1331" fmla="*/ 1915263 h 3762376"/>
                <a:gd name="connsiteX1332" fmla="*/ 4561730 w 6270621"/>
                <a:gd name="connsiteY1332" fmla="*/ 1957589 h 3762376"/>
                <a:gd name="connsiteX1333" fmla="*/ 4540560 w 6270621"/>
                <a:gd name="connsiteY1333" fmla="*/ 1989334 h 3762376"/>
                <a:gd name="connsiteX1334" fmla="*/ 4514098 w 6270621"/>
                <a:gd name="connsiteY1334" fmla="*/ 1994625 h 3762376"/>
                <a:gd name="connsiteX1335" fmla="*/ 4514098 w 6270621"/>
                <a:gd name="connsiteY1335" fmla="*/ 2052823 h 3762376"/>
                <a:gd name="connsiteX1336" fmla="*/ 4514098 w 6270621"/>
                <a:gd name="connsiteY1336" fmla="*/ 2079277 h 3762376"/>
                <a:gd name="connsiteX1337" fmla="*/ 4508805 w 6270621"/>
                <a:gd name="connsiteY1337" fmla="*/ 2111022 h 3762376"/>
                <a:gd name="connsiteX1338" fmla="*/ 4514098 w 6270621"/>
                <a:gd name="connsiteY1338" fmla="*/ 2132185 h 3762376"/>
                <a:gd name="connsiteX1339" fmla="*/ 4482343 w 6270621"/>
                <a:gd name="connsiteY1339" fmla="*/ 2163929 h 3762376"/>
                <a:gd name="connsiteX1340" fmla="*/ 4482343 w 6270621"/>
                <a:gd name="connsiteY1340" fmla="*/ 2179801 h 3762376"/>
                <a:gd name="connsiteX1341" fmla="*/ 4461173 w 6270621"/>
                <a:gd name="connsiteY1341" fmla="*/ 2190383 h 3762376"/>
                <a:gd name="connsiteX1342" fmla="*/ 4440003 w 6270621"/>
                <a:gd name="connsiteY1342" fmla="*/ 2158638 h 3762376"/>
                <a:gd name="connsiteX1343" fmla="*/ 4440003 w 6270621"/>
                <a:gd name="connsiteY1343" fmla="*/ 2142766 h 3762376"/>
                <a:gd name="connsiteX1344" fmla="*/ 4429418 w 6270621"/>
                <a:gd name="connsiteY1344" fmla="*/ 2126894 h 3762376"/>
                <a:gd name="connsiteX1345" fmla="*/ 4413540 w 6270621"/>
                <a:gd name="connsiteY1345" fmla="*/ 2105731 h 3762376"/>
                <a:gd name="connsiteX1346" fmla="*/ 4402955 w 6270621"/>
                <a:gd name="connsiteY1346" fmla="*/ 2058114 h 3762376"/>
                <a:gd name="connsiteX1347" fmla="*/ 4392370 w 6270621"/>
                <a:gd name="connsiteY1347" fmla="*/ 2042242 h 3762376"/>
                <a:gd name="connsiteX1348" fmla="*/ 4334153 w 6270621"/>
                <a:gd name="connsiteY1348" fmla="*/ 1931136 h 3762376"/>
                <a:gd name="connsiteX1349" fmla="*/ 4344738 w 6270621"/>
                <a:gd name="connsiteY1349" fmla="*/ 1888810 h 3762376"/>
                <a:gd name="connsiteX1350" fmla="*/ 4339445 w 6270621"/>
                <a:gd name="connsiteY1350" fmla="*/ 1862356 h 3762376"/>
                <a:gd name="connsiteX1351" fmla="*/ 4323568 w 6270621"/>
                <a:gd name="connsiteY1351" fmla="*/ 1894100 h 3762376"/>
                <a:gd name="connsiteX1352" fmla="*/ 4291813 w 6270621"/>
                <a:gd name="connsiteY1352" fmla="*/ 1899391 h 3762376"/>
                <a:gd name="connsiteX1353" fmla="*/ 4281228 w 6270621"/>
                <a:gd name="connsiteY1353" fmla="*/ 1883519 h 3762376"/>
                <a:gd name="connsiteX1354" fmla="*/ 4260058 w 6270621"/>
                <a:gd name="connsiteY1354" fmla="*/ 1867647 h 3762376"/>
                <a:gd name="connsiteX1355" fmla="*/ 4281228 w 6270621"/>
                <a:gd name="connsiteY1355" fmla="*/ 1851774 h 3762376"/>
                <a:gd name="connsiteX1356" fmla="*/ 4249473 w 6270621"/>
                <a:gd name="connsiteY1356" fmla="*/ 1846484 h 3762376"/>
                <a:gd name="connsiteX1357" fmla="*/ 4249473 w 6270621"/>
                <a:gd name="connsiteY1357" fmla="*/ 1830611 h 3762376"/>
                <a:gd name="connsiteX1358" fmla="*/ 4233596 w 6270621"/>
                <a:gd name="connsiteY1358" fmla="*/ 1835902 h 3762376"/>
                <a:gd name="connsiteX1359" fmla="*/ 4228303 w 6270621"/>
                <a:gd name="connsiteY1359" fmla="*/ 1825321 h 3762376"/>
                <a:gd name="connsiteX1360" fmla="*/ 4207133 w 6270621"/>
                <a:gd name="connsiteY1360" fmla="*/ 1814739 h 3762376"/>
                <a:gd name="connsiteX1361" fmla="*/ 4191256 w 6270621"/>
                <a:gd name="connsiteY1361" fmla="*/ 1793576 h 3762376"/>
                <a:gd name="connsiteX1362" fmla="*/ 4133038 w 6270621"/>
                <a:gd name="connsiteY1362" fmla="*/ 1798867 h 3762376"/>
                <a:gd name="connsiteX1363" fmla="*/ 4058943 w 6270621"/>
                <a:gd name="connsiteY1363" fmla="*/ 1809448 h 3762376"/>
                <a:gd name="connsiteX1364" fmla="*/ 4016603 w 6270621"/>
                <a:gd name="connsiteY1364" fmla="*/ 1793576 h 3762376"/>
                <a:gd name="connsiteX1365" fmla="*/ 4011311 w 6270621"/>
                <a:gd name="connsiteY1365" fmla="*/ 1777704 h 3762376"/>
                <a:gd name="connsiteX1366" fmla="*/ 4000726 w 6270621"/>
                <a:gd name="connsiteY1366" fmla="*/ 1761831 h 3762376"/>
                <a:gd name="connsiteX1367" fmla="*/ 3968971 w 6270621"/>
                <a:gd name="connsiteY1367" fmla="*/ 1777704 h 3762376"/>
                <a:gd name="connsiteX1368" fmla="*/ 3947801 w 6270621"/>
                <a:gd name="connsiteY1368" fmla="*/ 1782994 h 3762376"/>
                <a:gd name="connsiteX1369" fmla="*/ 3910754 w 6270621"/>
                <a:gd name="connsiteY1369" fmla="*/ 1756541 h 3762376"/>
                <a:gd name="connsiteX1370" fmla="*/ 3894876 w 6270621"/>
                <a:gd name="connsiteY1370" fmla="*/ 1761831 h 3762376"/>
                <a:gd name="connsiteX1371" fmla="*/ 3884291 w 6270621"/>
                <a:gd name="connsiteY1371" fmla="*/ 1745959 h 3762376"/>
                <a:gd name="connsiteX1372" fmla="*/ 3863121 w 6270621"/>
                <a:gd name="connsiteY1372" fmla="*/ 1708924 h 3762376"/>
                <a:gd name="connsiteX1373" fmla="*/ 3847244 w 6270621"/>
                <a:gd name="connsiteY1373" fmla="*/ 1703633 h 3762376"/>
                <a:gd name="connsiteX1374" fmla="*/ 3820781 w 6270621"/>
                <a:gd name="connsiteY1374" fmla="*/ 1724796 h 3762376"/>
                <a:gd name="connsiteX1375" fmla="*/ 3836659 w 6270621"/>
                <a:gd name="connsiteY1375" fmla="*/ 1745959 h 3762376"/>
                <a:gd name="connsiteX1376" fmla="*/ 3873706 w 6270621"/>
                <a:gd name="connsiteY1376" fmla="*/ 1798867 h 3762376"/>
                <a:gd name="connsiteX1377" fmla="*/ 3910754 w 6270621"/>
                <a:gd name="connsiteY1377" fmla="*/ 1846484 h 3762376"/>
                <a:gd name="connsiteX1378" fmla="*/ 3958386 w 6270621"/>
                <a:gd name="connsiteY1378" fmla="*/ 1835902 h 3762376"/>
                <a:gd name="connsiteX1379" fmla="*/ 3974263 w 6270621"/>
                <a:gd name="connsiteY1379" fmla="*/ 1809448 h 3762376"/>
                <a:gd name="connsiteX1380" fmla="*/ 3995433 w 6270621"/>
                <a:gd name="connsiteY1380" fmla="*/ 1782994 h 3762376"/>
                <a:gd name="connsiteX1381" fmla="*/ 4006018 w 6270621"/>
                <a:gd name="connsiteY1381" fmla="*/ 1835902 h 3762376"/>
                <a:gd name="connsiteX1382" fmla="*/ 4037773 w 6270621"/>
                <a:gd name="connsiteY1382" fmla="*/ 1841193 h 3762376"/>
                <a:gd name="connsiteX1383" fmla="*/ 4074821 w 6270621"/>
                <a:gd name="connsiteY1383" fmla="*/ 1867647 h 3762376"/>
                <a:gd name="connsiteX1384" fmla="*/ 4074821 w 6270621"/>
                <a:gd name="connsiteY1384" fmla="*/ 1899391 h 3762376"/>
                <a:gd name="connsiteX1385" fmla="*/ 4058943 w 6270621"/>
                <a:gd name="connsiteY1385" fmla="*/ 1909973 h 3762376"/>
                <a:gd name="connsiteX1386" fmla="*/ 4058943 w 6270621"/>
                <a:gd name="connsiteY1386" fmla="*/ 1925845 h 3762376"/>
                <a:gd name="connsiteX1387" fmla="*/ 4048358 w 6270621"/>
                <a:gd name="connsiteY1387" fmla="*/ 1925845 h 3762376"/>
                <a:gd name="connsiteX1388" fmla="*/ 4043066 w 6270621"/>
                <a:gd name="connsiteY1388" fmla="*/ 1952299 h 3762376"/>
                <a:gd name="connsiteX1389" fmla="*/ 4021896 w 6270621"/>
                <a:gd name="connsiteY1389" fmla="*/ 1962880 h 3762376"/>
                <a:gd name="connsiteX1390" fmla="*/ 4021896 w 6270621"/>
                <a:gd name="connsiteY1390" fmla="*/ 1978753 h 3762376"/>
                <a:gd name="connsiteX1391" fmla="*/ 4000726 w 6270621"/>
                <a:gd name="connsiteY1391" fmla="*/ 1984043 h 3762376"/>
                <a:gd name="connsiteX1392" fmla="*/ 4000726 w 6270621"/>
                <a:gd name="connsiteY1392" fmla="*/ 1999916 h 3762376"/>
                <a:gd name="connsiteX1393" fmla="*/ 3953093 w 6270621"/>
                <a:gd name="connsiteY1393" fmla="*/ 2010497 h 3762376"/>
                <a:gd name="connsiteX1394" fmla="*/ 3942509 w 6270621"/>
                <a:gd name="connsiteY1394" fmla="*/ 2036951 h 3762376"/>
                <a:gd name="connsiteX1395" fmla="*/ 3889584 w 6270621"/>
                <a:gd name="connsiteY1395" fmla="*/ 2047532 h 3762376"/>
                <a:gd name="connsiteX1396" fmla="*/ 3873706 w 6270621"/>
                <a:gd name="connsiteY1396" fmla="*/ 2063405 h 3762376"/>
                <a:gd name="connsiteX1397" fmla="*/ 3815489 w 6270621"/>
                <a:gd name="connsiteY1397" fmla="*/ 2084568 h 3762376"/>
                <a:gd name="connsiteX1398" fmla="*/ 3789026 w 6270621"/>
                <a:gd name="connsiteY1398" fmla="*/ 2095149 h 3762376"/>
                <a:gd name="connsiteX1399" fmla="*/ 3773149 w 6270621"/>
                <a:gd name="connsiteY1399" fmla="*/ 2095149 h 3762376"/>
                <a:gd name="connsiteX1400" fmla="*/ 3757271 w 6270621"/>
                <a:gd name="connsiteY1400" fmla="*/ 2079277 h 3762376"/>
                <a:gd name="connsiteX1401" fmla="*/ 3757271 w 6270621"/>
                <a:gd name="connsiteY1401" fmla="*/ 2063405 h 3762376"/>
                <a:gd name="connsiteX1402" fmla="*/ 3741394 w 6270621"/>
                <a:gd name="connsiteY1402" fmla="*/ 2042242 h 3762376"/>
                <a:gd name="connsiteX1403" fmla="*/ 3746686 w 6270621"/>
                <a:gd name="connsiteY1403" fmla="*/ 2021079 h 3762376"/>
                <a:gd name="connsiteX1404" fmla="*/ 3699054 w 6270621"/>
                <a:gd name="connsiteY1404" fmla="*/ 1941717 h 3762376"/>
                <a:gd name="connsiteX1405" fmla="*/ 3672591 w 6270621"/>
                <a:gd name="connsiteY1405" fmla="*/ 1931136 h 3762376"/>
                <a:gd name="connsiteX1406" fmla="*/ 3667299 w 6270621"/>
                <a:gd name="connsiteY1406" fmla="*/ 1920554 h 3762376"/>
                <a:gd name="connsiteX1407" fmla="*/ 3651421 w 6270621"/>
                <a:gd name="connsiteY1407" fmla="*/ 1862356 h 3762376"/>
                <a:gd name="connsiteX1408" fmla="*/ 3624959 w 6270621"/>
                <a:gd name="connsiteY1408" fmla="*/ 1851774 h 3762376"/>
                <a:gd name="connsiteX1409" fmla="*/ 3614374 w 6270621"/>
                <a:gd name="connsiteY1409" fmla="*/ 1830611 h 3762376"/>
                <a:gd name="connsiteX1410" fmla="*/ 3598497 w 6270621"/>
                <a:gd name="connsiteY1410" fmla="*/ 1814739 h 3762376"/>
                <a:gd name="connsiteX1411" fmla="*/ 3582619 w 6270621"/>
                <a:gd name="connsiteY1411" fmla="*/ 1782994 h 3762376"/>
                <a:gd name="connsiteX1412" fmla="*/ 3561449 w 6270621"/>
                <a:gd name="connsiteY1412" fmla="*/ 1772413 h 3762376"/>
                <a:gd name="connsiteX1413" fmla="*/ 3556157 w 6270621"/>
                <a:gd name="connsiteY1413" fmla="*/ 1735378 h 3762376"/>
                <a:gd name="connsiteX1414" fmla="*/ 3550864 w 6270621"/>
                <a:gd name="connsiteY1414" fmla="*/ 1751250 h 3762376"/>
                <a:gd name="connsiteX1415" fmla="*/ 3550864 w 6270621"/>
                <a:gd name="connsiteY1415" fmla="*/ 1788285 h 3762376"/>
                <a:gd name="connsiteX1416" fmla="*/ 3534987 w 6270621"/>
                <a:gd name="connsiteY1416" fmla="*/ 1767122 h 3762376"/>
                <a:gd name="connsiteX1417" fmla="*/ 3524402 w 6270621"/>
                <a:gd name="connsiteY1417" fmla="*/ 1745959 h 3762376"/>
                <a:gd name="connsiteX1418" fmla="*/ 3513817 w 6270621"/>
                <a:gd name="connsiteY1418" fmla="*/ 1719505 h 3762376"/>
                <a:gd name="connsiteX1419" fmla="*/ 3503232 w 6270621"/>
                <a:gd name="connsiteY1419" fmla="*/ 1724796 h 3762376"/>
                <a:gd name="connsiteX1420" fmla="*/ 3519109 w 6270621"/>
                <a:gd name="connsiteY1420" fmla="*/ 1772413 h 3762376"/>
                <a:gd name="connsiteX1421" fmla="*/ 3540279 w 6270621"/>
                <a:gd name="connsiteY1421" fmla="*/ 1788285 h 3762376"/>
                <a:gd name="connsiteX1422" fmla="*/ 3545572 w 6270621"/>
                <a:gd name="connsiteY1422" fmla="*/ 1809448 h 3762376"/>
                <a:gd name="connsiteX1423" fmla="*/ 3587912 w 6270621"/>
                <a:gd name="connsiteY1423" fmla="*/ 1851774 h 3762376"/>
                <a:gd name="connsiteX1424" fmla="*/ 3577327 w 6270621"/>
                <a:gd name="connsiteY1424" fmla="*/ 1862356 h 3762376"/>
                <a:gd name="connsiteX1425" fmla="*/ 3619667 w 6270621"/>
                <a:gd name="connsiteY1425" fmla="*/ 1904682 h 3762376"/>
                <a:gd name="connsiteX1426" fmla="*/ 3630252 w 6270621"/>
                <a:gd name="connsiteY1426" fmla="*/ 1973462 h 3762376"/>
                <a:gd name="connsiteX1427" fmla="*/ 3656714 w 6270621"/>
                <a:gd name="connsiteY1427" fmla="*/ 1989334 h 3762376"/>
                <a:gd name="connsiteX1428" fmla="*/ 3677884 w 6270621"/>
                <a:gd name="connsiteY1428" fmla="*/ 2042242 h 3762376"/>
                <a:gd name="connsiteX1429" fmla="*/ 3741394 w 6270621"/>
                <a:gd name="connsiteY1429" fmla="*/ 2084568 h 3762376"/>
                <a:gd name="connsiteX1430" fmla="*/ 3757271 w 6270621"/>
                <a:gd name="connsiteY1430" fmla="*/ 2100440 h 3762376"/>
                <a:gd name="connsiteX1431" fmla="*/ 3751979 w 6270621"/>
                <a:gd name="connsiteY1431" fmla="*/ 2116312 h 3762376"/>
                <a:gd name="connsiteX1432" fmla="*/ 3767856 w 6270621"/>
                <a:gd name="connsiteY1432" fmla="*/ 2142766 h 3762376"/>
                <a:gd name="connsiteX1433" fmla="*/ 3789026 w 6270621"/>
                <a:gd name="connsiteY1433" fmla="*/ 2148057 h 3762376"/>
                <a:gd name="connsiteX1434" fmla="*/ 3810196 w 6270621"/>
                <a:gd name="connsiteY1434" fmla="*/ 2137475 h 3762376"/>
                <a:gd name="connsiteX1435" fmla="*/ 3831366 w 6270621"/>
                <a:gd name="connsiteY1435" fmla="*/ 2137475 h 3762376"/>
                <a:gd name="connsiteX1436" fmla="*/ 3841951 w 6270621"/>
                <a:gd name="connsiteY1436" fmla="*/ 2126894 h 3762376"/>
                <a:gd name="connsiteX1437" fmla="*/ 3873706 w 6270621"/>
                <a:gd name="connsiteY1437" fmla="*/ 2126894 h 3762376"/>
                <a:gd name="connsiteX1438" fmla="*/ 3910754 w 6270621"/>
                <a:gd name="connsiteY1438" fmla="*/ 2111022 h 3762376"/>
                <a:gd name="connsiteX1439" fmla="*/ 3921339 w 6270621"/>
                <a:gd name="connsiteY1439" fmla="*/ 2121603 h 3762376"/>
                <a:gd name="connsiteX1440" fmla="*/ 3916046 w 6270621"/>
                <a:gd name="connsiteY1440" fmla="*/ 2158638 h 3762376"/>
                <a:gd name="connsiteX1441" fmla="*/ 3894876 w 6270621"/>
                <a:gd name="connsiteY1441" fmla="*/ 2200964 h 3762376"/>
                <a:gd name="connsiteX1442" fmla="*/ 3894876 w 6270621"/>
                <a:gd name="connsiteY1442" fmla="*/ 2227418 h 3762376"/>
                <a:gd name="connsiteX1443" fmla="*/ 3857829 w 6270621"/>
                <a:gd name="connsiteY1443" fmla="*/ 2280326 h 3762376"/>
                <a:gd name="connsiteX1444" fmla="*/ 3751979 w 6270621"/>
                <a:gd name="connsiteY1444" fmla="*/ 2375559 h 3762376"/>
                <a:gd name="connsiteX1445" fmla="*/ 3741394 w 6270621"/>
                <a:gd name="connsiteY1445" fmla="*/ 2402013 h 3762376"/>
                <a:gd name="connsiteX1446" fmla="*/ 3720224 w 6270621"/>
                <a:gd name="connsiteY1446" fmla="*/ 2407304 h 3762376"/>
                <a:gd name="connsiteX1447" fmla="*/ 3693761 w 6270621"/>
                <a:gd name="connsiteY1447" fmla="*/ 2454921 h 3762376"/>
                <a:gd name="connsiteX1448" fmla="*/ 3677884 w 6270621"/>
                <a:gd name="connsiteY1448" fmla="*/ 2491956 h 3762376"/>
                <a:gd name="connsiteX1449" fmla="*/ 3688469 w 6270621"/>
                <a:gd name="connsiteY1449" fmla="*/ 2513119 h 3762376"/>
                <a:gd name="connsiteX1450" fmla="*/ 3683176 w 6270621"/>
                <a:gd name="connsiteY1450" fmla="*/ 2550155 h 3762376"/>
                <a:gd name="connsiteX1451" fmla="*/ 3704346 w 6270621"/>
                <a:gd name="connsiteY1451" fmla="*/ 2597771 h 3762376"/>
                <a:gd name="connsiteX1452" fmla="*/ 3704346 w 6270621"/>
                <a:gd name="connsiteY1452" fmla="*/ 2640097 h 3762376"/>
                <a:gd name="connsiteX1453" fmla="*/ 3699054 w 6270621"/>
                <a:gd name="connsiteY1453" fmla="*/ 2677133 h 3762376"/>
                <a:gd name="connsiteX1454" fmla="*/ 3704346 w 6270621"/>
                <a:gd name="connsiteY1454" fmla="*/ 2693005 h 3762376"/>
                <a:gd name="connsiteX1455" fmla="*/ 3683176 w 6270621"/>
                <a:gd name="connsiteY1455" fmla="*/ 2719459 h 3762376"/>
                <a:gd name="connsiteX1456" fmla="*/ 3640837 w 6270621"/>
                <a:gd name="connsiteY1456" fmla="*/ 2730040 h 3762376"/>
                <a:gd name="connsiteX1457" fmla="*/ 3603789 w 6270621"/>
                <a:gd name="connsiteY1457" fmla="*/ 2767076 h 3762376"/>
                <a:gd name="connsiteX1458" fmla="*/ 3577327 w 6270621"/>
                <a:gd name="connsiteY1458" fmla="*/ 2804111 h 3762376"/>
                <a:gd name="connsiteX1459" fmla="*/ 3587912 w 6270621"/>
                <a:gd name="connsiteY1459" fmla="*/ 2857019 h 3762376"/>
                <a:gd name="connsiteX1460" fmla="*/ 3572034 w 6270621"/>
                <a:gd name="connsiteY1460" fmla="*/ 2904635 h 3762376"/>
                <a:gd name="connsiteX1461" fmla="*/ 3524402 w 6270621"/>
                <a:gd name="connsiteY1461" fmla="*/ 2925798 h 3762376"/>
                <a:gd name="connsiteX1462" fmla="*/ 3524402 w 6270621"/>
                <a:gd name="connsiteY1462" fmla="*/ 2978706 h 3762376"/>
                <a:gd name="connsiteX1463" fmla="*/ 3497939 w 6270621"/>
                <a:gd name="connsiteY1463" fmla="*/ 2999869 h 3762376"/>
                <a:gd name="connsiteX1464" fmla="*/ 3476769 w 6270621"/>
                <a:gd name="connsiteY1464" fmla="*/ 3036904 h 3762376"/>
                <a:gd name="connsiteX1465" fmla="*/ 3429137 w 6270621"/>
                <a:gd name="connsiteY1465" fmla="*/ 3079231 h 3762376"/>
                <a:gd name="connsiteX1466" fmla="*/ 3392089 w 6270621"/>
                <a:gd name="connsiteY1466" fmla="*/ 3110975 h 3762376"/>
                <a:gd name="connsiteX1467" fmla="*/ 3328580 w 6270621"/>
                <a:gd name="connsiteY1467" fmla="*/ 3116266 h 3762376"/>
                <a:gd name="connsiteX1468" fmla="*/ 3291532 w 6270621"/>
                <a:gd name="connsiteY1468" fmla="*/ 3121557 h 3762376"/>
                <a:gd name="connsiteX1469" fmla="*/ 3270362 w 6270621"/>
                <a:gd name="connsiteY1469" fmla="*/ 3132138 h 3762376"/>
                <a:gd name="connsiteX1470" fmla="*/ 3228022 w 6270621"/>
                <a:gd name="connsiteY1470" fmla="*/ 3110975 h 3762376"/>
                <a:gd name="connsiteX1471" fmla="*/ 3228022 w 6270621"/>
                <a:gd name="connsiteY1471" fmla="*/ 3100394 h 3762376"/>
                <a:gd name="connsiteX1472" fmla="*/ 3222730 w 6270621"/>
                <a:gd name="connsiteY1472" fmla="*/ 3079231 h 3762376"/>
                <a:gd name="connsiteX1473" fmla="*/ 3228022 w 6270621"/>
                <a:gd name="connsiteY1473" fmla="*/ 3068649 h 3762376"/>
                <a:gd name="connsiteX1474" fmla="*/ 3228022 w 6270621"/>
                <a:gd name="connsiteY1474" fmla="*/ 3047486 h 3762376"/>
                <a:gd name="connsiteX1475" fmla="*/ 3206852 w 6270621"/>
                <a:gd name="connsiteY1475" fmla="*/ 3026323 h 3762376"/>
                <a:gd name="connsiteX1476" fmla="*/ 3196267 w 6270621"/>
                <a:gd name="connsiteY1476" fmla="*/ 2978706 h 3762376"/>
                <a:gd name="connsiteX1477" fmla="*/ 3175097 w 6270621"/>
                <a:gd name="connsiteY1477" fmla="*/ 2962834 h 3762376"/>
                <a:gd name="connsiteX1478" fmla="*/ 3175097 w 6270621"/>
                <a:gd name="connsiteY1478" fmla="*/ 2931089 h 3762376"/>
                <a:gd name="connsiteX1479" fmla="*/ 3164512 w 6270621"/>
                <a:gd name="connsiteY1479" fmla="*/ 2894054 h 3762376"/>
                <a:gd name="connsiteX1480" fmla="*/ 3153927 w 6270621"/>
                <a:gd name="connsiteY1480" fmla="*/ 2830565 h 3762376"/>
                <a:gd name="connsiteX1481" fmla="*/ 3143342 w 6270621"/>
                <a:gd name="connsiteY1481" fmla="*/ 2809402 h 3762376"/>
                <a:gd name="connsiteX1482" fmla="*/ 3138050 w 6270621"/>
                <a:gd name="connsiteY1482" fmla="*/ 2782948 h 3762376"/>
                <a:gd name="connsiteX1483" fmla="*/ 3116880 w 6270621"/>
                <a:gd name="connsiteY1483" fmla="*/ 2761785 h 3762376"/>
                <a:gd name="connsiteX1484" fmla="*/ 3111587 w 6270621"/>
                <a:gd name="connsiteY1484" fmla="*/ 2730040 h 3762376"/>
                <a:gd name="connsiteX1485" fmla="*/ 3122173 w 6270621"/>
                <a:gd name="connsiteY1485" fmla="*/ 2677133 h 3762376"/>
                <a:gd name="connsiteX1486" fmla="*/ 3153927 w 6270621"/>
                <a:gd name="connsiteY1486" fmla="*/ 2629516 h 3762376"/>
                <a:gd name="connsiteX1487" fmla="*/ 3159220 w 6270621"/>
                <a:gd name="connsiteY1487" fmla="*/ 2603062 h 3762376"/>
                <a:gd name="connsiteX1488" fmla="*/ 3138050 w 6270621"/>
                <a:gd name="connsiteY1488" fmla="*/ 2566027 h 3762376"/>
                <a:gd name="connsiteX1489" fmla="*/ 3148635 w 6270621"/>
                <a:gd name="connsiteY1489" fmla="*/ 2539573 h 3762376"/>
                <a:gd name="connsiteX1490" fmla="*/ 3138050 w 6270621"/>
                <a:gd name="connsiteY1490" fmla="*/ 2502538 h 3762376"/>
                <a:gd name="connsiteX1491" fmla="*/ 3116880 w 6270621"/>
                <a:gd name="connsiteY1491" fmla="*/ 2486665 h 3762376"/>
                <a:gd name="connsiteX1492" fmla="*/ 3101002 w 6270621"/>
                <a:gd name="connsiteY1492" fmla="*/ 2449630 h 3762376"/>
                <a:gd name="connsiteX1493" fmla="*/ 3063955 w 6270621"/>
                <a:gd name="connsiteY1493" fmla="*/ 2417886 h 3762376"/>
                <a:gd name="connsiteX1494" fmla="*/ 3058662 w 6270621"/>
                <a:gd name="connsiteY1494" fmla="*/ 2391432 h 3762376"/>
                <a:gd name="connsiteX1495" fmla="*/ 3079833 w 6270621"/>
                <a:gd name="connsiteY1495" fmla="*/ 2317361 h 3762376"/>
                <a:gd name="connsiteX1496" fmla="*/ 3074540 w 6270621"/>
                <a:gd name="connsiteY1496" fmla="*/ 2290907 h 3762376"/>
                <a:gd name="connsiteX1497" fmla="*/ 3048078 w 6270621"/>
                <a:gd name="connsiteY1497" fmla="*/ 2275035 h 3762376"/>
                <a:gd name="connsiteX1498" fmla="*/ 3000445 w 6270621"/>
                <a:gd name="connsiteY1498" fmla="*/ 2280326 h 3762376"/>
                <a:gd name="connsiteX1499" fmla="*/ 2984568 w 6270621"/>
                <a:gd name="connsiteY1499" fmla="*/ 2259163 h 3762376"/>
                <a:gd name="connsiteX1500" fmla="*/ 2958106 w 6270621"/>
                <a:gd name="connsiteY1500" fmla="*/ 2238000 h 3762376"/>
                <a:gd name="connsiteX1501" fmla="*/ 2884011 w 6270621"/>
                <a:gd name="connsiteY1501" fmla="*/ 2253872 h 3762376"/>
                <a:gd name="connsiteX1502" fmla="*/ 2846963 w 6270621"/>
                <a:gd name="connsiteY1502" fmla="*/ 2275035 h 3762376"/>
                <a:gd name="connsiteX1503" fmla="*/ 2815208 w 6270621"/>
                <a:gd name="connsiteY1503" fmla="*/ 2264454 h 3762376"/>
                <a:gd name="connsiteX1504" fmla="*/ 2778161 w 6270621"/>
                <a:gd name="connsiteY1504" fmla="*/ 2259163 h 3762376"/>
                <a:gd name="connsiteX1505" fmla="*/ 2741113 w 6270621"/>
                <a:gd name="connsiteY1505" fmla="*/ 2285617 h 3762376"/>
                <a:gd name="connsiteX1506" fmla="*/ 2714651 w 6270621"/>
                <a:gd name="connsiteY1506" fmla="*/ 2285617 h 3762376"/>
                <a:gd name="connsiteX1507" fmla="*/ 2640556 w 6270621"/>
                <a:gd name="connsiteY1507" fmla="*/ 2227418 h 3762376"/>
                <a:gd name="connsiteX1508" fmla="*/ 2619386 w 6270621"/>
                <a:gd name="connsiteY1508" fmla="*/ 2227418 h 3762376"/>
                <a:gd name="connsiteX1509" fmla="*/ 2603509 w 6270621"/>
                <a:gd name="connsiteY1509" fmla="*/ 2185092 h 3762376"/>
                <a:gd name="connsiteX1510" fmla="*/ 2561169 w 6270621"/>
                <a:gd name="connsiteY1510" fmla="*/ 2126894 h 3762376"/>
                <a:gd name="connsiteX1511" fmla="*/ 2539999 w 6270621"/>
                <a:gd name="connsiteY1511" fmla="*/ 2116312 h 3762376"/>
                <a:gd name="connsiteX1512" fmla="*/ 2534706 w 6270621"/>
                <a:gd name="connsiteY1512" fmla="*/ 2079277 h 3762376"/>
                <a:gd name="connsiteX1513" fmla="*/ 2524121 w 6270621"/>
                <a:gd name="connsiteY1513" fmla="*/ 2058114 h 3762376"/>
                <a:gd name="connsiteX1514" fmla="*/ 2545291 w 6270621"/>
                <a:gd name="connsiteY1514" fmla="*/ 2042242 h 3762376"/>
                <a:gd name="connsiteX1515" fmla="*/ 2545291 w 6270621"/>
                <a:gd name="connsiteY1515" fmla="*/ 2015788 h 3762376"/>
                <a:gd name="connsiteX1516" fmla="*/ 2550584 w 6270621"/>
                <a:gd name="connsiteY1516" fmla="*/ 1994625 h 3762376"/>
                <a:gd name="connsiteX1517" fmla="*/ 2539999 w 6270621"/>
                <a:gd name="connsiteY1517" fmla="*/ 1962880 h 3762376"/>
                <a:gd name="connsiteX1518" fmla="*/ 2550584 w 6270621"/>
                <a:gd name="connsiteY1518" fmla="*/ 1947008 h 3762376"/>
                <a:gd name="connsiteX1519" fmla="*/ 2534706 w 6270621"/>
                <a:gd name="connsiteY1519" fmla="*/ 1941717 h 3762376"/>
                <a:gd name="connsiteX1520" fmla="*/ 2529413 w 6270621"/>
                <a:gd name="connsiteY1520" fmla="*/ 1920554 h 3762376"/>
                <a:gd name="connsiteX1521" fmla="*/ 2550584 w 6270621"/>
                <a:gd name="connsiteY1521" fmla="*/ 1899391 h 3762376"/>
                <a:gd name="connsiteX1522" fmla="*/ 2555876 w 6270621"/>
                <a:gd name="connsiteY1522" fmla="*/ 1867647 h 3762376"/>
                <a:gd name="connsiteX1523" fmla="*/ 2582339 w 6270621"/>
                <a:gd name="connsiteY1523" fmla="*/ 1851774 h 3762376"/>
                <a:gd name="connsiteX1524" fmla="*/ 2582339 w 6270621"/>
                <a:gd name="connsiteY1524" fmla="*/ 1825321 h 3762376"/>
                <a:gd name="connsiteX1525" fmla="*/ 2603509 w 6270621"/>
                <a:gd name="connsiteY1525" fmla="*/ 1809448 h 3762376"/>
                <a:gd name="connsiteX1526" fmla="*/ 2614094 w 6270621"/>
                <a:gd name="connsiteY1526" fmla="*/ 1782994 h 3762376"/>
                <a:gd name="connsiteX1527" fmla="*/ 2645849 w 6270621"/>
                <a:gd name="connsiteY1527" fmla="*/ 1777704 h 3762376"/>
                <a:gd name="connsiteX1528" fmla="*/ 2677604 w 6270621"/>
                <a:gd name="connsiteY1528" fmla="*/ 1756541 h 3762376"/>
                <a:gd name="connsiteX1529" fmla="*/ 2677604 w 6270621"/>
                <a:gd name="connsiteY1529" fmla="*/ 1730087 h 3762376"/>
                <a:gd name="connsiteX1530" fmla="*/ 2688189 w 6270621"/>
                <a:gd name="connsiteY1530" fmla="*/ 1682470 h 3762376"/>
                <a:gd name="connsiteX1531" fmla="*/ 2730529 w 6270621"/>
                <a:gd name="connsiteY1531" fmla="*/ 1650725 h 3762376"/>
                <a:gd name="connsiteX1532" fmla="*/ 2751698 w 6270621"/>
                <a:gd name="connsiteY1532" fmla="*/ 1624272 h 3762376"/>
                <a:gd name="connsiteX1533" fmla="*/ 2762283 w 6270621"/>
                <a:gd name="connsiteY1533" fmla="*/ 1597818 h 3762376"/>
                <a:gd name="connsiteX1534" fmla="*/ 2735821 w 6270621"/>
                <a:gd name="connsiteY1534" fmla="*/ 1576655 h 3762376"/>
                <a:gd name="connsiteX1535" fmla="*/ 2704066 w 6270621"/>
                <a:gd name="connsiteY1535" fmla="*/ 1581946 h 3762376"/>
                <a:gd name="connsiteX1536" fmla="*/ 2698773 w 6270621"/>
                <a:gd name="connsiteY1536" fmla="*/ 1566073 h 3762376"/>
                <a:gd name="connsiteX1537" fmla="*/ 2698773 w 6270621"/>
                <a:gd name="connsiteY1537" fmla="*/ 1523747 h 3762376"/>
                <a:gd name="connsiteX1538" fmla="*/ 2704066 w 6270621"/>
                <a:gd name="connsiteY1538" fmla="*/ 1476130 h 3762376"/>
                <a:gd name="connsiteX1539" fmla="*/ 2704066 w 6270621"/>
                <a:gd name="connsiteY1539" fmla="*/ 1428514 h 3762376"/>
                <a:gd name="connsiteX1540" fmla="*/ 2730529 w 6270621"/>
                <a:gd name="connsiteY1540" fmla="*/ 1412641 h 3762376"/>
                <a:gd name="connsiteX1541" fmla="*/ 2762283 w 6270621"/>
                <a:gd name="connsiteY1541" fmla="*/ 1423223 h 3762376"/>
                <a:gd name="connsiteX1542" fmla="*/ 2841670 w 6270621"/>
                <a:gd name="connsiteY1542" fmla="*/ 1423223 h 3762376"/>
                <a:gd name="connsiteX1543" fmla="*/ 2862841 w 6270621"/>
                <a:gd name="connsiteY1543" fmla="*/ 1380897 h 3762376"/>
                <a:gd name="connsiteX1544" fmla="*/ 2862841 w 6270621"/>
                <a:gd name="connsiteY1544" fmla="*/ 1359734 h 3762376"/>
                <a:gd name="connsiteX1545" fmla="*/ 2836378 w 6270621"/>
                <a:gd name="connsiteY1545" fmla="*/ 1322698 h 3762376"/>
                <a:gd name="connsiteX1546" fmla="*/ 2809916 w 6270621"/>
                <a:gd name="connsiteY1546" fmla="*/ 1306826 h 3762376"/>
                <a:gd name="connsiteX1547" fmla="*/ 2794038 w 6270621"/>
                <a:gd name="connsiteY1547" fmla="*/ 1296245 h 3762376"/>
                <a:gd name="connsiteX1548" fmla="*/ 2799330 w 6270621"/>
                <a:gd name="connsiteY1548" fmla="*/ 1280372 h 3762376"/>
                <a:gd name="connsiteX1549" fmla="*/ 2831085 w 6270621"/>
                <a:gd name="connsiteY1549" fmla="*/ 1285663 h 3762376"/>
                <a:gd name="connsiteX1550" fmla="*/ 2841670 w 6270621"/>
                <a:gd name="connsiteY1550" fmla="*/ 1275081 h 3762376"/>
                <a:gd name="connsiteX1551" fmla="*/ 2836378 w 6270621"/>
                <a:gd name="connsiteY1551" fmla="*/ 1259209 h 3762376"/>
                <a:gd name="connsiteX1552" fmla="*/ 2820501 w 6270621"/>
                <a:gd name="connsiteY1552" fmla="*/ 1238046 h 3762376"/>
                <a:gd name="connsiteX1553" fmla="*/ 2788746 w 6270621"/>
                <a:gd name="connsiteY1553" fmla="*/ 1243337 h 3762376"/>
                <a:gd name="connsiteX1554" fmla="*/ 2783453 w 6270621"/>
                <a:gd name="connsiteY1554" fmla="*/ 1232755 h 3762376"/>
                <a:gd name="connsiteX1555" fmla="*/ 2815208 w 6270621"/>
                <a:gd name="connsiteY1555" fmla="*/ 1216883 h 3762376"/>
                <a:gd name="connsiteX1556" fmla="*/ 2778161 w 6270621"/>
                <a:gd name="connsiteY1556" fmla="*/ 1206302 h 3762376"/>
                <a:gd name="connsiteX1557" fmla="*/ 2794038 w 6270621"/>
                <a:gd name="connsiteY1557" fmla="*/ 1179848 h 3762376"/>
                <a:gd name="connsiteX1558" fmla="*/ 2809916 w 6270621"/>
                <a:gd name="connsiteY1558" fmla="*/ 1158685 h 3762376"/>
                <a:gd name="connsiteX1559" fmla="*/ 2815208 w 6270621"/>
                <a:gd name="connsiteY1559" fmla="*/ 1121649 h 3762376"/>
                <a:gd name="connsiteX1560" fmla="*/ 2788746 w 6270621"/>
                <a:gd name="connsiteY1560" fmla="*/ 1116359 h 3762376"/>
                <a:gd name="connsiteX1561" fmla="*/ 2767576 w 6270621"/>
                <a:gd name="connsiteY1561" fmla="*/ 1079323 h 3762376"/>
                <a:gd name="connsiteX1562" fmla="*/ 2767576 w 6270621"/>
                <a:gd name="connsiteY1562" fmla="*/ 1042288 h 3762376"/>
                <a:gd name="connsiteX1563" fmla="*/ 2788746 w 6270621"/>
                <a:gd name="connsiteY1563" fmla="*/ 1015834 h 3762376"/>
                <a:gd name="connsiteX1564" fmla="*/ 2825793 w 6270621"/>
                <a:gd name="connsiteY1564" fmla="*/ 1005253 h 3762376"/>
                <a:gd name="connsiteX1565" fmla="*/ 2815208 w 6270621"/>
                <a:gd name="connsiteY1565" fmla="*/ 1031706 h 3762376"/>
                <a:gd name="connsiteX1566" fmla="*/ 2841670 w 6270621"/>
                <a:gd name="connsiteY1566" fmla="*/ 1052870 h 3762376"/>
                <a:gd name="connsiteX1567" fmla="*/ 2825793 w 6270621"/>
                <a:gd name="connsiteY1567" fmla="*/ 1089905 h 3762376"/>
                <a:gd name="connsiteX1568" fmla="*/ 2873426 w 6270621"/>
                <a:gd name="connsiteY1568" fmla="*/ 1158685 h 3762376"/>
                <a:gd name="connsiteX1569" fmla="*/ 2899888 w 6270621"/>
                <a:gd name="connsiteY1569" fmla="*/ 1185139 h 3762376"/>
                <a:gd name="connsiteX1570" fmla="*/ 2899888 w 6270621"/>
                <a:gd name="connsiteY1570" fmla="*/ 1222174 h 3762376"/>
                <a:gd name="connsiteX1571" fmla="*/ 2846963 w 6270621"/>
                <a:gd name="connsiteY1571" fmla="*/ 1253918 h 3762376"/>
                <a:gd name="connsiteX1572" fmla="*/ 2873426 w 6270621"/>
                <a:gd name="connsiteY1572" fmla="*/ 1269791 h 3762376"/>
                <a:gd name="connsiteX1573" fmla="*/ 2947520 w 6270621"/>
                <a:gd name="connsiteY1573" fmla="*/ 1216883 h 3762376"/>
                <a:gd name="connsiteX1574" fmla="*/ 2958106 w 6270621"/>
                <a:gd name="connsiteY1574" fmla="*/ 1179848 h 3762376"/>
                <a:gd name="connsiteX1575" fmla="*/ 2995153 w 6270621"/>
                <a:gd name="connsiteY1575" fmla="*/ 1153394 h 3762376"/>
                <a:gd name="connsiteX1576" fmla="*/ 3032200 w 6270621"/>
                <a:gd name="connsiteY1576" fmla="*/ 1142812 h 3762376"/>
                <a:gd name="connsiteX1577" fmla="*/ 3016323 w 6270621"/>
                <a:gd name="connsiteY1577" fmla="*/ 1116359 h 3762376"/>
                <a:gd name="connsiteX1578" fmla="*/ 3011030 w 6270621"/>
                <a:gd name="connsiteY1578" fmla="*/ 1084614 h 3762376"/>
                <a:gd name="connsiteX1579" fmla="*/ 3032200 w 6270621"/>
                <a:gd name="connsiteY1579" fmla="*/ 1074033 h 3762376"/>
                <a:gd name="connsiteX1580" fmla="*/ 3032200 w 6270621"/>
                <a:gd name="connsiteY1580" fmla="*/ 1047579 h 3762376"/>
                <a:gd name="connsiteX1581" fmla="*/ 3053370 w 6270621"/>
                <a:gd name="connsiteY1581" fmla="*/ 1031706 h 3762376"/>
                <a:gd name="connsiteX1582" fmla="*/ 3069248 w 6270621"/>
                <a:gd name="connsiteY1582" fmla="*/ 1111068 h 3762376"/>
                <a:gd name="connsiteX1583" fmla="*/ 3101002 w 6270621"/>
                <a:gd name="connsiteY1583" fmla="*/ 1089905 h 3762376"/>
                <a:gd name="connsiteX1584" fmla="*/ 3074540 w 6270621"/>
                <a:gd name="connsiteY1584" fmla="*/ 1036997 h 3762376"/>
                <a:gd name="connsiteX1585" fmla="*/ 3063955 w 6270621"/>
                <a:gd name="connsiteY1585" fmla="*/ 984090 h 3762376"/>
                <a:gd name="connsiteX1586" fmla="*/ 3005738 w 6270621"/>
                <a:gd name="connsiteY1586" fmla="*/ 1036997 h 3762376"/>
                <a:gd name="connsiteX1587" fmla="*/ 2973983 w 6270621"/>
                <a:gd name="connsiteY1587" fmla="*/ 1021125 h 3762376"/>
                <a:gd name="connsiteX1588" fmla="*/ 2958106 w 6270621"/>
                <a:gd name="connsiteY1588" fmla="*/ 957636 h 3762376"/>
                <a:gd name="connsiteX1589" fmla="*/ 2968690 w 6270621"/>
                <a:gd name="connsiteY1589" fmla="*/ 894147 h 3762376"/>
                <a:gd name="connsiteX1590" fmla="*/ 3074540 w 6270621"/>
                <a:gd name="connsiteY1590" fmla="*/ 809494 h 3762376"/>
                <a:gd name="connsiteX1591" fmla="*/ 3101002 w 6270621"/>
                <a:gd name="connsiteY1591" fmla="*/ 751296 h 3762376"/>
                <a:gd name="connsiteX1592" fmla="*/ 3127465 w 6270621"/>
                <a:gd name="connsiteY1592" fmla="*/ 703679 h 3762376"/>
                <a:gd name="connsiteX1593" fmla="*/ 3148635 w 6270621"/>
                <a:gd name="connsiteY1593" fmla="*/ 671935 h 3762376"/>
                <a:gd name="connsiteX1594" fmla="*/ 3185682 w 6270621"/>
                <a:gd name="connsiteY1594" fmla="*/ 661353 h 3762376"/>
                <a:gd name="connsiteX1595" fmla="*/ 3201560 w 6270621"/>
                <a:gd name="connsiteY1595" fmla="*/ 634899 h 3762376"/>
                <a:gd name="connsiteX1596" fmla="*/ 3217437 w 6270621"/>
                <a:gd name="connsiteY1596" fmla="*/ 634899 h 3762376"/>
                <a:gd name="connsiteX1597" fmla="*/ 3233315 w 6270621"/>
                <a:gd name="connsiteY1597" fmla="*/ 656062 h 3762376"/>
                <a:gd name="connsiteX1598" fmla="*/ 3243900 w 6270621"/>
                <a:gd name="connsiteY1598" fmla="*/ 634899 h 3762376"/>
                <a:gd name="connsiteX1599" fmla="*/ 3291532 w 6270621"/>
                <a:gd name="connsiteY1599" fmla="*/ 619027 h 3762376"/>
                <a:gd name="connsiteX1600" fmla="*/ 3344457 w 6270621"/>
                <a:gd name="connsiteY1600" fmla="*/ 656062 h 3762376"/>
                <a:gd name="connsiteX1601" fmla="*/ 3370919 w 6270621"/>
                <a:gd name="connsiteY1601" fmla="*/ 645481 h 3762376"/>
                <a:gd name="connsiteX1602" fmla="*/ 3392089 w 6270621"/>
                <a:gd name="connsiteY1602" fmla="*/ 666644 h 3762376"/>
                <a:gd name="connsiteX1603" fmla="*/ 3429137 w 6270621"/>
                <a:gd name="connsiteY1603" fmla="*/ 661353 h 3762376"/>
                <a:gd name="connsiteX1604" fmla="*/ 3497939 w 6270621"/>
                <a:gd name="connsiteY1604" fmla="*/ 693098 h 3762376"/>
                <a:gd name="connsiteX1605" fmla="*/ 3519109 w 6270621"/>
                <a:gd name="connsiteY1605" fmla="*/ 719551 h 3762376"/>
                <a:gd name="connsiteX1606" fmla="*/ 3519109 w 6270621"/>
                <a:gd name="connsiteY1606" fmla="*/ 746005 h 3762376"/>
                <a:gd name="connsiteX1607" fmla="*/ 3487354 w 6270621"/>
                <a:gd name="connsiteY1607" fmla="*/ 761877 h 3762376"/>
                <a:gd name="connsiteX1608" fmla="*/ 3429137 w 6270621"/>
                <a:gd name="connsiteY1608" fmla="*/ 751296 h 3762376"/>
                <a:gd name="connsiteX1609" fmla="*/ 3397382 w 6270621"/>
                <a:gd name="connsiteY1609" fmla="*/ 735424 h 3762376"/>
                <a:gd name="connsiteX1610" fmla="*/ 3370919 w 6270621"/>
                <a:gd name="connsiteY1610" fmla="*/ 730133 h 3762376"/>
                <a:gd name="connsiteX1611" fmla="*/ 3397382 w 6270621"/>
                <a:gd name="connsiteY1611" fmla="*/ 756587 h 3762376"/>
                <a:gd name="connsiteX1612" fmla="*/ 3429137 w 6270621"/>
                <a:gd name="connsiteY1612" fmla="*/ 777750 h 3762376"/>
                <a:gd name="connsiteX1613" fmla="*/ 3434429 w 6270621"/>
                <a:gd name="connsiteY1613" fmla="*/ 809494 h 3762376"/>
                <a:gd name="connsiteX1614" fmla="*/ 3466184 w 6270621"/>
                <a:gd name="connsiteY1614" fmla="*/ 830658 h 3762376"/>
                <a:gd name="connsiteX1615" fmla="*/ 3497939 w 6270621"/>
                <a:gd name="connsiteY1615" fmla="*/ 825367 h 3762376"/>
                <a:gd name="connsiteX1616" fmla="*/ 3487354 w 6270621"/>
                <a:gd name="connsiteY1616" fmla="*/ 809494 h 3762376"/>
                <a:gd name="connsiteX1617" fmla="*/ 3460892 w 6270621"/>
                <a:gd name="connsiteY1617" fmla="*/ 788331 h 3762376"/>
                <a:gd name="connsiteX1618" fmla="*/ 3476769 w 6270621"/>
                <a:gd name="connsiteY1618" fmla="*/ 788331 h 3762376"/>
                <a:gd name="connsiteX1619" fmla="*/ 3503232 w 6270621"/>
                <a:gd name="connsiteY1619" fmla="*/ 804204 h 3762376"/>
                <a:gd name="connsiteX1620" fmla="*/ 3529694 w 6270621"/>
                <a:gd name="connsiteY1620" fmla="*/ 788331 h 3762376"/>
                <a:gd name="connsiteX1621" fmla="*/ 3513817 w 6270621"/>
                <a:gd name="connsiteY1621" fmla="*/ 767168 h 3762376"/>
                <a:gd name="connsiteX1622" fmla="*/ 3529694 w 6270621"/>
                <a:gd name="connsiteY1622" fmla="*/ 751296 h 3762376"/>
                <a:gd name="connsiteX1623" fmla="*/ 3540279 w 6270621"/>
                <a:gd name="connsiteY1623" fmla="*/ 735424 h 3762376"/>
                <a:gd name="connsiteX1624" fmla="*/ 3545572 w 6270621"/>
                <a:gd name="connsiteY1624" fmla="*/ 735424 h 3762376"/>
                <a:gd name="connsiteX1625" fmla="*/ 3577327 w 6270621"/>
                <a:gd name="connsiteY1625" fmla="*/ 756587 h 3762376"/>
                <a:gd name="connsiteX1626" fmla="*/ 3577327 w 6270621"/>
                <a:gd name="connsiteY1626" fmla="*/ 735424 h 3762376"/>
                <a:gd name="connsiteX1627" fmla="*/ 3572034 w 6270621"/>
                <a:gd name="connsiteY1627" fmla="*/ 719551 h 3762376"/>
                <a:gd name="connsiteX1628" fmla="*/ 3556157 w 6270621"/>
                <a:gd name="connsiteY1628" fmla="*/ 687807 h 3762376"/>
                <a:gd name="connsiteX1629" fmla="*/ 3550864 w 6270621"/>
                <a:gd name="connsiteY1629" fmla="*/ 666644 h 3762376"/>
                <a:gd name="connsiteX1630" fmla="*/ 3566742 w 6270621"/>
                <a:gd name="connsiteY1630" fmla="*/ 666644 h 3762376"/>
                <a:gd name="connsiteX1631" fmla="*/ 3598497 w 6270621"/>
                <a:gd name="connsiteY1631" fmla="*/ 671935 h 3762376"/>
                <a:gd name="connsiteX1632" fmla="*/ 3603789 w 6270621"/>
                <a:gd name="connsiteY1632" fmla="*/ 693098 h 3762376"/>
                <a:gd name="connsiteX1633" fmla="*/ 3593204 w 6270621"/>
                <a:gd name="connsiteY1633" fmla="*/ 687807 h 3762376"/>
                <a:gd name="connsiteX1634" fmla="*/ 3577327 w 6270621"/>
                <a:gd name="connsiteY1634" fmla="*/ 703679 h 3762376"/>
                <a:gd name="connsiteX1635" fmla="*/ 3598497 w 6270621"/>
                <a:gd name="connsiteY1635" fmla="*/ 719551 h 3762376"/>
                <a:gd name="connsiteX1636" fmla="*/ 3624959 w 6270621"/>
                <a:gd name="connsiteY1636" fmla="*/ 724842 h 3762376"/>
                <a:gd name="connsiteX1637" fmla="*/ 3624959 w 6270621"/>
                <a:gd name="connsiteY1637" fmla="*/ 703679 h 3762376"/>
                <a:gd name="connsiteX1638" fmla="*/ 3640837 w 6270621"/>
                <a:gd name="connsiteY1638" fmla="*/ 677225 h 3762376"/>
                <a:gd name="connsiteX1639" fmla="*/ 3688469 w 6270621"/>
                <a:gd name="connsiteY1639" fmla="*/ 656062 h 3762376"/>
                <a:gd name="connsiteX1640" fmla="*/ 3699054 w 6270621"/>
                <a:gd name="connsiteY1640" fmla="*/ 634899 h 3762376"/>
                <a:gd name="connsiteX1641" fmla="*/ 3714931 w 6270621"/>
                <a:gd name="connsiteY1641" fmla="*/ 629608 h 3762376"/>
                <a:gd name="connsiteX1642" fmla="*/ 3699054 w 6270621"/>
                <a:gd name="connsiteY1642" fmla="*/ 671935 h 3762376"/>
                <a:gd name="connsiteX1643" fmla="*/ 3720224 w 6270621"/>
                <a:gd name="connsiteY1643" fmla="*/ 661353 h 3762376"/>
                <a:gd name="connsiteX1644" fmla="*/ 3757271 w 6270621"/>
                <a:gd name="connsiteY1644" fmla="*/ 640190 h 3762376"/>
                <a:gd name="connsiteX1645" fmla="*/ 3789026 w 6270621"/>
                <a:gd name="connsiteY1645" fmla="*/ 634899 h 3762376"/>
                <a:gd name="connsiteX1646" fmla="*/ 3804904 w 6270621"/>
                <a:gd name="connsiteY1646" fmla="*/ 634899 h 3762376"/>
                <a:gd name="connsiteX1647" fmla="*/ 3799611 w 6270621"/>
                <a:gd name="connsiteY1647" fmla="*/ 608445 h 3762376"/>
                <a:gd name="connsiteX1648" fmla="*/ 3725516 w 6270621"/>
                <a:gd name="connsiteY1648" fmla="*/ 581992 h 3762376"/>
                <a:gd name="connsiteX1649" fmla="*/ 3688469 w 6270621"/>
                <a:gd name="connsiteY1649" fmla="*/ 581992 h 3762376"/>
                <a:gd name="connsiteX1650" fmla="*/ 3677884 w 6270621"/>
                <a:gd name="connsiteY1650" fmla="*/ 571410 h 3762376"/>
                <a:gd name="connsiteX1651" fmla="*/ 3651421 w 6270621"/>
                <a:gd name="connsiteY1651" fmla="*/ 566119 h 3762376"/>
                <a:gd name="connsiteX1652" fmla="*/ 3640837 w 6270621"/>
                <a:gd name="connsiteY1652" fmla="*/ 539666 h 3762376"/>
                <a:gd name="connsiteX1653" fmla="*/ 3667299 w 6270621"/>
                <a:gd name="connsiteY1653" fmla="*/ 529084 h 3762376"/>
                <a:gd name="connsiteX1654" fmla="*/ 3662006 w 6270621"/>
                <a:gd name="connsiteY1654" fmla="*/ 502630 h 3762376"/>
                <a:gd name="connsiteX1655" fmla="*/ 3677884 w 6270621"/>
                <a:gd name="connsiteY1655" fmla="*/ 465595 h 3762376"/>
                <a:gd name="connsiteX1656" fmla="*/ 3693761 w 6270621"/>
                <a:gd name="connsiteY1656" fmla="*/ 439141 h 3762376"/>
                <a:gd name="connsiteX1657" fmla="*/ 3683176 w 6270621"/>
                <a:gd name="connsiteY1657" fmla="*/ 428560 h 3762376"/>
                <a:gd name="connsiteX1658" fmla="*/ 3683176 w 6270621"/>
                <a:gd name="connsiteY1658" fmla="*/ 417978 h 3762376"/>
                <a:gd name="connsiteX1659" fmla="*/ 3699054 w 6270621"/>
                <a:gd name="connsiteY1659" fmla="*/ 417978 h 3762376"/>
                <a:gd name="connsiteX1660" fmla="*/ 3709639 w 6270621"/>
                <a:gd name="connsiteY1660" fmla="*/ 396815 h 3762376"/>
                <a:gd name="connsiteX1661" fmla="*/ 3751979 w 6270621"/>
                <a:gd name="connsiteY1661" fmla="*/ 370361 h 3762376"/>
                <a:gd name="connsiteX1662" fmla="*/ 3815489 w 6270621"/>
                <a:gd name="connsiteY1662" fmla="*/ 343907 h 3762376"/>
                <a:gd name="connsiteX1663" fmla="*/ 3820781 w 6270621"/>
                <a:gd name="connsiteY1663" fmla="*/ 328035 h 3762376"/>
                <a:gd name="connsiteX1664" fmla="*/ 3847244 w 6270621"/>
                <a:gd name="connsiteY1664" fmla="*/ 322744 h 3762376"/>
                <a:gd name="connsiteX1665" fmla="*/ 3841951 w 6270621"/>
                <a:gd name="connsiteY1665" fmla="*/ 354489 h 3762376"/>
                <a:gd name="connsiteX1666" fmla="*/ 3820781 w 6270621"/>
                <a:gd name="connsiteY1666" fmla="*/ 365070 h 3762376"/>
                <a:gd name="connsiteX1667" fmla="*/ 3778441 w 6270621"/>
                <a:gd name="connsiteY1667" fmla="*/ 396815 h 3762376"/>
                <a:gd name="connsiteX1668" fmla="*/ 3725516 w 6270621"/>
                <a:gd name="connsiteY1668" fmla="*/ 444432 h 3762376"/>
                <a:gd name="connsiteX1669" fmla="*/ 3704346 w 6270621"/>
                <a:gd name="connsiteY1669" fmla="*/ 502630 h 3762376"/>
                <a:gd name="connsiteX1670" fmla="*/ 3699054 w 6270621"/>
                <a:gd name="connsiteY1670" fmla="*/ 544956 h 3762376"/>
                <a:gd name="connsiteX1671" fmla="*/ 3741394 w 6270621"/>
                <a:gd name="connsiteY1671" fmla="*/ 576701 h 3762376"/>
                <a:gd name="connsiteX1672" fmla="*/ 3799611 w 6270621"/>
                <a:gd name="connsiteY1672" fmla="*/ 597864 h 3762376"/>
                <a:gd name="connsiteX1673" fmla="*/ 3831366 w 6270621"/>
                <a:gd name="connsiteY1673" fmla="*/ 597864 h 3762376"/>
                <a:gd name="connsiteX1674" fmla="*/ 3847244 w 6270621"/>
                <a:gd name="connsiteY1674" fmla="*/ 592573 h 3762376"/>
                <a:gd name="connsiteX1675" fmla="*/ 3878999 w 6270621"/>
                <a:gd name="connsiteY1675" fmla="*/ 608445 h 3762376"/>
                <a:gd name="connsiteX1676" fmla="*/ 3905461 w 6270621"/>
                <a:gd name="connsiteY1676" fmla="*/ 608445 h 3762376"/>
                <a:gd name="connsiteX1677" fmla="*/ 3942509 w 6270621"/>
                <a:gd name="connsiteY1677" fmla="*/ 634899 h 3762376"/>
                <a:gd name="connsiteX1678" fmla="*/ 3931924 w 6270621"/>
                <a:gd name="connsiteY1678" fmla="*/ 608445 h 3762376"/>
                <a:gd name="connsiteX1679" fmla="*/ 3910754 w 6270621"/>
                <a:gd name="connsiteY1679" fmla="*/ 581992 h 3762376"/>
                <a:gd name="connsiteX1680" fmla="*/ 3894876 w 6270621"/>
                <a:gd name="connsiteY1680" fmla="*/ 587282 h 3762376"/>
                <a:gd name="connsiteX1681" fmla="*/ 3889584 w 6270621"/>
                <a:gd name="connsiteY1681" fmla="*/ 566119 h 3762376"/>
                <a:gd name="connsiteX1682" fmla="*/ 3894876 w 6270621"/>
                <a:gd name="connsiteY1682" fmla="*/ 550247 h 3762376"/>
                <a:gd name="connsiteX1683" fmla="*/ 3878999 w 6270621"/>
                <a:gd name="connsiteY1683" fmla="*/ 534375 h 3762376"/>
                <a:gd name="connsiteX1684" fmla="*/ 3884291 w 6270621"/>
                <a:gd name="connsiteY1684" fmla="*/ 523793 h 3762376"/>
                <a:gd name="connsiteX1685" fmla="*/ 3905461 w 6270621"/>
                <a:gd name="connsiteY1685" fmla="*/ 513212 h 3762376"/>
                <a:gd name="connsiteX1686" fmla="*/ 3900169 w 6270621"/>
                <a:gd name="connsiteY1686" fmla="*/ 486758 h 3762376"/>
                <a:gd name="connsiteX1687" fmla="*/ 3905461 w 6270621"/>
                <a:gd name="connsiteY1687" fmla="*/ 455013 h 3762376"/>
                <a:gd name="connsiteX1688" fmla="*/ 3931924 w 6270621"/>
                <a:gd name="connsiteY1688" fmla="*/ 455013 h 3762376"/>
                <a:gd name="connsiteX1689" fmla="*/ 3958386 w 6270621"/>
                <a:gd name="connsiteY1689" fmla="*/ 465595 h 3762376"/>
                <a:gd name="connsiteX1690" fmla="*/ 3953093 w 6270621"/>
                <a:gd name="connsiteY1690" fmla="*/ 507921 h 3762376"/>
                <a:gd name="connsiteX1691" fmla="*/ 3979556 w 6270621"/>
                <a:gd name="connsiteY1691" fmla="*/ 518502 h 3762376"/>
                <a:gd name="connsiteX1692" fmla="*/ 3990141 w 6270621"/>
                <a:gd name="connsiteY1692" fmla="*/ 566119 h 3762376"/>
                <a:gd name="connsiteX1693" fmla="*/ 4016603 w 6270621"/>
                <a:gd name="connsiteY1693" fmla="*/ 597864 h 3762376"/>
                <a:gd name="connsiteX1694" fmla="*/ 4016603 w 6270621"/>
                <a:gd name="connsiteY1694" fmla="*/ 619027 h 3762376"/>
                <a:gd name="connsiteX1695" fmla="*/ 4011311 w 6270621"/>
                <a:gd name="connsiteY1695" fmla="*/ 656062 h 3762376"/>
                <a:gd name="connsiteX1696" fmla="*/ 3995433 w 6270621"/>
                <a:gd name="connsiteY1696" fmla="*/ 671935 h 3762376"/>
                <a:gd name="connsiteX1697" fmla="*/ 3979556 w 6270621"/>
                <a:gd name="connsiteY1697" fmla="*/ 671935 h 3762376"/>
                <a:gd name="connsiteX1698" fmla="*/ 3968971 w 6270621"/>
                <a:gd name="connsiteY1698" fmla="*/ 682516 h 3762376"/>
                <a:gd name="connsiteX1699" fmla="*/ 4021896 w 6270621"/>
                <a:gd name="connsiteY1699" fmla="*/ 682516 h 3762376"/>
                <a:gd name="connsiteX1700" fmla="*/ 4032481 w 6270621"/>
                <a:gd name="connsiteY1700" fmla="*/ 656062 h 3762376"/>
                <a:gd name="connsiteX1701" fmla="*/ 4043066 w 6270621"/>
                <a:gd name="connsiteY1701" fmla="*/ 634899 h 3762376"/>
                <a:gd name="connsiteX1702" fmla="*/ 4032481 w 6270621"/>
                <a:gd name="connsiteY1702" fmla="*/ 603155 h 3762376"/>
                <a:gd name="connsiteX1703" fmla="*/ 4053651 w 6270621"/>
                <a:gd name="connsiteY1703" fmla="*/ 587282 h 3762376"/>
                <a:gd name="connsiteX1704" fmla="*/ 4069528 w 6270621"/>
                <a:gd name="connsiteY1704" fmla="*/ 597864 h 3762376"/>
                <a:gd name="connsiteX1705" fmla="*/ 4085406 w 6270621"/>
                <a:gd name="connsiteY1705" fmla="*/ 629608 h 3762376"/>
                <a:gd name="connsiteX1706" fmla="*/ 4117161 w 6270621"/>
                <a:gd name="connsiteY1706" fmla="*/ 640190 h 3762376"/>
                <a:gd name="connsiteX1707" fmla="*/ 4133038 w 6270621"/>
                <a:gd name="connsiteY1707" fmla="*/ 634899 h 3762376"/>
                <a:gd name="connsiteX1708" fmla="*/ 4095991 w 6270621"/>
                <a:gd name="connsiteY1708" fmla="*/ 619027 h 3762376"/>
                <a:gd name="connsiteX1709" fmla="*/ 4085406 w 6270621"/>
                <a:gd name="connsiteY1709" fmla="*/ 592573 h 3762376"/>
                <a:gd name="connsiteX1710" fmla="*/ 4053651 w 6270621"/>
                <a:gd name="connsiteY1710" fmla="*/ 576701 h 3762376"/>
                <a:gd name="connsiteX1711" fmla="*/ 4021896 w 6270621"/>
                <a:gd name="connsiteY1711" fmla="*/ 587282 h 3762376"/>
                <a:gd name="connsiteX1712" fmla="*/ 4011311 w 6270621"/>
                <a:gd name="connsiteY1712" fmla="*/ 576701 h 3762376"/>
                <a:gd name="connsiteX1713" fmla="*/ 4011311 w 6270621"/>
                <a:gd name="connsiteY1713" fmla="*/ 560829 h 3762376"/>
                <a:gd name="connsiteX1714" fmla="*/ 4000726 w 6270621"/>
                <a:gd name="connsiteY1714" fmla="*/ 550247 h 3762376"/>
                <a:gd name="connsiteX1715" fmla="*/ 4000726 w 6270621"/>
                <a:gd name="connsiteY1715" fmla="*/ 529084 h 3762376"/>
                <a:gd name="connsiteX1716" fmla="*/ 3979556 w 6270621"/>
                <a:gd name="connsiteY1716" fmla="*/ 507921 h 3762376"/>
                <a:gd name="connsiteX1717" fmla="*/ 3984848 w 6270621"/>
                <a:gd name="connsiteY1717" fmla="*/ 481467 h 3762376"/>
                <a:gd name="connsiteX1718" fmla="*/ 3995433 w 6270621"/>
                <a:gd name="connsiteY1718" fmla="*/ 460304 h 3762376"/>
                <a:gd name="connsiteX1719" fmla="*/ 3990141 w 6270621"/>
                <a:gd name="connsiteY1719" fmla="*/ 449723 h 3762376"/>
                <a:gd name="connsiteX1720" fmla="*/ 3995433 w 6270621"/>
                <a:gd name="connsiteY1720" fmla="*/ 444432 h 3762376"/>
                <a:gd name="connsiteX1721" fmla="*/ 4016603 w 6270621"/>
                <a:gd name="connsiteY1721" fmla="*/ 465595 h 3762376"/>
                <a:gd name="connsiteX1722" fmla="*/ 4048358 w 6270621"/>
                <a:gd name="connsiteY1722" fmla="*/ 470886 h 3762376"/>
                <a:gd name="connsiteX1723" fmla="*/ 4037773 w 6270621"/>
                <a:gd name="connsiteY1723" fmla="*/ 449723 h 3762376"/>
                <a:gd name="connsiteX1724" fmla="*/ 4053651 w 6270621"/>
                <a:gd name="connsiteY1724" fmla="*/ 439141 h 3762376"/>
                <a:gd name="connsiteX1725" fmla="*/ 4085406 w 6270621"/>
                <a:gd name="connsiteY1725" fmla="*/ 460304 h 3762376"/>
                <a:gd name="connsiteX1726" fmla="*/ 4127746 w 6270621"/>
                <a:gd name="connsiteY1726" fmla="*/ 470886 h 3762376"/>
                <a:gd name="connsiteX1727" fmla="*/ 4133038 w 6270621"/>
                <a:gd name="connsiteY1727" fmla="*/ 513212 h 3762376"/>
                <a:gd name="connsiteX1728" fmla="*/ 4154208 w 6270621"/>
                <a:gd name="connsiteY1728" fmla="*/ 539666 h 3762376"/>
                <a:gd name="connsiteX1729" fmla="*/ 4170086 w 6270621"/>
                <a:gd name="connsiteY1729" fmla="*/ 534375 h 3762376"/>
                <a:gd name="connsiteX1730" fmla="*/ 4148916 w 6270621"/>
                <a:gd name="connsiteY1730" fmla="*/ 507921 h 3762376"/>
                <a:gd name="connsiteX1731" fmla="*/ 4148916 w 6270621"/>
                <a:gd name="connsiteY1731" fmla="*/ 486758 h 3762376"/>
                <a:gd name="connsiteX1732" fmla="*/ 4133038 w 6270621"/>
                <a:gd name="connsiteY1732" fmla="*/ 455013 h 3762376"/>
                <a:gd name="connsiteX1733" fmla="*/ 4090698 w 6270621"/>
                <a:gd name="connsiteY1733" fmla="*/ 444432 h 3762376"/>
                <a:gd name="connsiteX1734" fmla="*/ 4074821 w 6270621"/>
                <a:gd name="connsiteY1734" fmla="*/ 428560 h 3762376"/>
                <a:gd name="connsiteX1735" fmla="*/ 4069528 w 6270621"/>
                <a:gd name="connsiteY1735" fmla="*/ 407397 h 3762376"/>
                <a:gd name="connsiteX1736" fmla="*/ 4085406 w 6270621"/>
                <a:gd name="connsiteY1736" fmla="*/ 391524 h 3762376"/>
                <a:gd name="connsiteX1737" fmla="*/ 4122453 w 6270621"/>
                <a:gd name="connsiteY1737" fmla="*/ 380943 h 3762376"/>
                <a:gd name="connsiteX1738" fmla="*/ 4143623 w 6270621"/>
                <a:gd name="connsiteY1738" fmla="*/ 370361 h 3762376"/>
                <a:gd name="connsiteX1739" fmla="*/ 4148916 w 6270621"/>
                <a:gd name="connsiteY1739" fmla="*/ 396815 h 3762376"/>
                <a:gd name="connsiteX1740" fmla="*/ 4164793 w 6270621"/>
                <a:gd name="connsiteY1740" fmla="*/ 365070 h 3762376"/>
                <a:gd name="connsiteX1741" fmla="*/ 4143623 w 6270621"/>
                <a:gd name="connsiteY1741" fmla="*/ 349198 h 3762376"/>
                <a:gd name="connsiteX1742" fmla="*/ 4138331 w 6270621"/>
                <a:gd name="connsiteY1742" fmla="*/ 328035 h 3762376"/>
                <a:gd name="connsiteX1743" fmla="*/ 4154208 w 6270621"/>
                <a:gd name="connsiteY1743" fmla="*/ 312163 h 3762376"/>
                <a:gd name="connsiteX1744" fmla="*/ 4164793 w 6270621"/>
                <a:gd name="connsiteY1744" fmla="*/ 291000 h 3762376"/>
                <a:gd name="connsiteX1745" fmla="*/ 4191256 w 6270621"/>
                <a:gd name="connsiteY1745" fmla="*/ 285709 h 3762376"/>
                <a:gd name="connsiteX1746" fmla="*/ 4249473 w 6270621"/>
                <a:gd name="connsiteY1746" fmla="*/ 238092 h 3762376"/>
                <a:gd name="connsiteX1747" fmla="*/ 4265350 w 6270621"/>
                <a:gd name="connsiteY1747" fmla="*/ 248674 h 3762376"/>
                <a:gd name="connsiteX1748" fmla="*/ 4307690 w 6270621"/>
                <a:gd name="connsiteY1748" fmla="*/ 243383 h 3762376"/>
                <a:gd name="connsiteX1749" fmla="*/ 4281228 w 6270621"/>
                <a:gd name="connsiteY1749" fmla="*/ 222220 h 3762376"/>
                <a:gd name="connsiteX1750" fmla="*/ 4307690 w 6270621"/>
                <a:gd name="connsiteY1750" fmla="*/ 211638 h 3762376"/>
                <a:gd name="connsiteX1751" fmla="*/ 4334153 w 6270621"/>
                <a:gd name="connsiteY1751" fmla="*/ 211638 h 3762376"/>
                <a:gd name="connsiteX1752" fmla="*/ 4339445 w 6270621"/>
                <a:gd name="connsiteY1752" fmla="*/ 201057 h 3762376"/>
                <a:gd name="connsiteX1753" fmla="*/ 4323568 w 6270621"/>
                <a:gd name="connsiteY1753" fmla="*/ 206348 h 3762376"/>
                <a:gd name="connsiteX1754" fmla="*/ 4307690 w 6270621"/>
                <a:gd name="connsiteY1754" fmla="*/ 190476 h 3762376"/>
                <a:gd name="connsiteX1755" fmla="*/ 4312983 w 6270621"/>
                <a:gd name="connsiteY1755" fmla="*/ 164022 h 3762376"/>
                <a:gd name="connsiteX1756" fmla="*/ 4323568 w 6270621"/>
                <a:gd name="connsiteY1756" fmla="*/ 142859 h 3762376"/>
                <a:gd name="connsiteX1757" fmla="*/ 4339445 w 6270621"/>
                <a:gd name="connsiteY1757" fmla="*/ 142859 h 3762376"/>
                <a:gd name="connsiteX1758" fmla="*/ 4350030 w 6270621"/>
                <a:gd name="connsiteY1758" fmla="*/ 174603 h 3762376"/>
                <a:gd name="connsiteX1759" fmla="*/ 4365908 w 6270621"/>
                <a:gd name="connsiteY1759" fmla="*/ 179894 h 3762376"/>
                <a:gd name="connsiteX1760" fmla="*/ 4387078 w 6270621"/>
                <a:gd name="connsiteY1760" fmla="*/ 179894 h 3762376"/>
                <a:gd name="connsiteX1761" fmla="*/ 4429418 w 6270621"/>
                <a:gd name="connsiteY1761" fmla="*/ 164022 h 3762376"/>
                <a:gd name="connsiteX1762" fmla="*/ 4461173 w 6270621"/>
                <a:gd name="connsiteY1762" fmla="*/ 153440 h 3762376"/>
                <a:gd name="connsiteX1763" fmla="*/ 4503513 w 6270621"/>
                <a:gd name="connsiteY1763" fmla="*/ 164022 h 3762376"/>
                <a:gd name="connsiteX1764" fmla="*/ 4508805 w 6270621"/>
                <a:gd name="connsiteY1764" fmla="*/ 185185 h 3762376"/>
                <a:gd name="connsiteX1765" fmla="*/ 4482343 w 6270621"/>
                <a:gd name="connsiteY1765" fmla="*/ 190476 h 3762376"/>
                <a:gd name="connsiteX1766" fmla="*/ 4508805 w 6270621"/>
                <a:gd name="connsiteY1766" fmla="*/ 201057 h 3762376"/>
                <a:gd name="connsiteX1767" fmla="*/ 4508805 w 6270621"/>
                <a:gd name="connsiteY1767" fmla="*/ 238092 h 3762376"/>
                <a:gd name="connsiteX1768" fmla="*/ 4482343 w 6270621"/>
                <a:gd name="connsiteY1768" fmla="*/ 259256 h 3762376"/>
                <a:gd name="connsiteX1769" fmla="*/ 4440003 w 6270621"/>
                <a:gd name="connsiteY1769" fmla="*/ 301582 h 3762376"/>
                <a:gd name="connsiteX1770" fmla="*/ 4418833 w 6270621"/>
                <a:gd name="connsiteY1770" fmla="*/ 343907 h 3762376"/>
                <a:gd name="connsiteX1771" fmla="*/ 4434710 w 6270621"/>
                <a:gd name="connsiteY1771" fmla="*/ 333326 h 3762376"/>
                <a:gd name="connsiteX1772" fmla="*/ 4445295 w 6270621"/>
                <a:gd name="connsiteY1772" fmla="*/ 322744 h 3762376"/>
                <a:gd name="connsiteX1773" fmla="*/ 4466465 w 6270621"/>
                <a:gd name="connsiteY1773" fmla="*/ 306872 h 3762376"/>
                <a:gd name="connsiteX1774" fmla="*/ 4487635 w 6270621"/>
                <a:gd name="connsiteY1774" fmla="*/ 296291 h 3762376"/>
                <a:gd name="connsiteX1775" fmla="*/ 4482343 w 6270621"/>
                <a:gd name="connsiteY1775" fmla="*/ 285709 h 3762376"/>
                <a:gd name="connsiteX1776" fmla="*/ 4487635 w 6270621"/>
                <a:gd name="connsiteY1776" fmla="*/ 269837 h 3762376"/>
                <a:gd name="connsiteX1777" fmla="*/ 4519390 w 6270621"/>
                <a:gd name="connsiteY1777" fmla="*/ 269837 h 3762376"/>
                <a:gd name="connsiteX1778" fmla="*/ 4535268 w 6270621"/>
                <a:gd name="connsiteY1778" fmla="*/ 264546 h 3762376"/>
                <a:gd name="connsiteX1779" fmla="*/ 4556438 w 6270621"/>
                <a:gd name="connsiteY1779" fmla="*/ 269837 h 3762376"/>
                <a:gd name="connsiteX1780" fmla="*/ 4598777 w 6270621"/>
                <a:gd name="connsiteY1780" fmla="*/ 259256 h 3762376"/>
                <a:gd name="connsiteX1781" fmla="*/ 4619947 w 6270621"/>
                <a:gd name="connsiteY1781" fmla="*/ 253965 h 3762376"/>
                <a:gd name="connsiteX1782" fmla="*/ 4630532 w 6270621"/>
                <a:gd name="connsiteY1782" fmla="*/ 269837 h 3762376"/>
                <a:gd name="connsiteX1783" fmla="*/ 4672872 w 6270621"/>
                <a:gd name="connsiteY1783" fmla="*/ 253965 h 3762376"/>
                <a:gd name="connsiteX1784" fmla="*/ 4694042 w 6270621"/>
                <a:gd name="connsiteY1784" fmla="*/ 248674 h 3762376"/>
                <a:gd name="connsiteX1785" fmla="*/ 4699335 w 6270621"/>
                <a:gd name="connsiteY1785" fmla="*/ 243383 h 3762376"/>
                <a:gd name="connsiteX1786" fmla="*/ 4678165 w 6270621"/>
                <a:gd name="connsiteY1786" fmla="*/ 238092 h 3762376"/>
                <a:gd name="connsiteX1787" fmla="*/ 4683457 w 6270621"/>
                <a:gd name="connsiteY1787" fmla="*/ 222220 h 3762376"/>
                <a:gd name="connsiteX1788" fmla="*/ 4688750 w 6270621"/>
                <a:gd name="connsiteY1788" fmla="*/ 206348 h 3762376"/>
                <a:gd name="connsiteX1789" fmla="*/ 4725797 w 6270621"/>
                <a:gd name="connsiteY1789" fmla="*/ 211638 h 3762376"/>
                <a:gd name="connsiteX1790" fmla="*/ 4762845 w 6270621"/>
                <a:gd name="connsiteY1790" fmla="*/ 206348 h 3762376"/>
                <a:gd name="connsiteX1791" fmla="*/ 4784015 w 6270621"/>
                <a:gd name="connsiteY1791" fmla="*/ 216929 h 3762376"/>
                <a:gd name="connsiteX1792" fmla="*/ 4773430 w 6270621"/>
                <a:gd name="connsiteY1792" fmla="*/ 232802 h 3762376"/>
                <a:gd name="connsiteX1793" fmla="*/ 4757552 w 6270621"/>
                <a:gd name="connsiteY1793" fmla="*/ 248674 h 3762376"/>
                <a:gd name="connsiteX1794" fmla="*/ 4752260 w 6270621"/>
                <a:gd name="connsiteY1794" fmla="*/ 253965 h 3762376"/>
                <a:gd name="connsiteX1795" fmla="*/ 4773430 w 6270621"/>
                <a:gd name="connsiteY1795" fmla="*/ 253965 h 3762376"/>
                <a:gd name="connsiteX1796" fmla="*/ 4836940 w 6270621"/>
                <a:gd name="connsiteY1796" fmla="*/ 280419 h 3762376"/>
                <a:gd name="connsiteX1797" fmla="*/ 4868695 w 6270621"/>
                <a:gd name="connsiteY1797" fmla="*/ 285709 h 3762376"/>
                <a:gd name="connsiteX1798" fmla="*/ 4873987 w 6270621"/>
                <a:gd name="connsiteY1798" fmla="*/ 275128 h 3762376"/>
                <a:gd name="connsiteX1799" fmla="*/ 4858110 w 6270621"/>
                <a:gd name="connsiteY1799" fmla="*/ 253965 h 3762376"/>
                <a:gd name="connsiteX1800" fmla="*/ 4863402 w 6270621"/>
                <a:gd name="connsiteY1800" fmla="*/ 238092 h 3762376"/>
                <a:gd name="connsiteX1801" fmla="*/ 4884572 w 6270621"/>
                <a:gd name="connsiteY1801" fmla="*/ 259256 h 3762376"/>
                <a:gd name="connsiteX1802" fmla="*/ 4905742 w 6270621"/>
                <a:gd name="connsiteY1802" fmla="*/ 253965 h 3762376"/>
                <a:gd name="connsiteX1803" fmla="*/ 4921619 w 6270621"/>
                <a:gd name="connsiteY1803" fmla="*/ 253965 h 3762376"/>
                <a:gd name="connsiteX1804" fmla="*/ 4916327 w 6270621"/>
                <a:gd name="connsiteY1804" fmla="*/ 248674 h 3762376"/>
                <a:gd name="connsiteX1805" fmla="*/ 4916327 w 6270621"/>
                <a:gd name="connsiteY1805" fmla="*/ 232802 h 3762376"/>
                <a:gd name="connsiteX1806" fmla="*/ 4942789 w 6270621"/>
                <a:gd name="connsiteY1806" fmla="*/ 238092 h 3762376"/>
                <a:gd name="connsiteX1807" fmla="*/ 4974544 w 6270621"/>
                <a:gd name="connsiteY1807" fmla="*/ 238092 h 3762376"/>
                <a:gd name="connsiteX1808" fmla="*/ 4974544 w 6270621"/>
                <a:gd name="connsiteY1808" fmla="*/ 216929 h 3762376"/>
                <a:gd name="connsiteX1809" fmla="*/ 4974544 w 6270621"/>
                <a:gd name="connsiteY1809" fmla="*/ 190476 h 3762376"/>
                <a:gd name="connsiteX1810" fmla="*/ 4953374 w 6270621"/>
                <a:gd name="connsiteY1810" fmla="*/ 190476 h 3762376"/>
                <a:gd name="connsiteX1811" fmla="*/ 4963959 w 6270621"/>
                <a:gd name="connsiteY1811" fmla="*/ 164022 h 3762376"/>
                <a:gd name="connsiteX1812" fmla="*/ 5001007 w 6270621"/>
                <a:gd name="connsiteY1812" fmla="*/ 153440 h 3762376"/>
                <a:gd name="connsiteX1813" fmla="*/ 5059224 w 6270621"/>
                <a:gd name="connsiteY1813" fmla="*/ 148150 h 3762376"/>
                <a:gd name="connsiteX1814" fmla="*/ 5064517 w 6270621"/>
                <a:gd name="connsiteY1814" fmla="*/ 179894 h 3762376"/>
                <a:gd name="connsiteX1815" fmla="*/ 5080394 w 6270621"/>
                <a:gd name="connsiteY1815" fmla="*/ 190476 h 3762376"/>
                <a:gd name="connsiteX1816" fmla="*/ 5090979 w 6270621"/>
                <a:gd name="connsiteY1816" fmla="*/ 169313 h 3762376"/>
                <a:gd name="connsiteX1817" fmla="*/ 5085687 w 6270621"/>
                <a:gd name="connsiteY1817" fmla="*/ 142859 h 3762376"/>
                <a:gd name="connsiteX1818" fmla="*/ 5112149 w 6270621"/>
                <a:gd name="connsiteY1818" fmla="*/ 137568 h 3762376"/>
                <a:gd name="connsiteX1819" fmla="*/ 5133319 w 6270621"/>
                <a:gd name="connsiteY1819" fmla="*/ 148150 h 3762376"/>
                <a:gd name="connsiteX1820" fmla="*/ 5128027 w 6270621"/>
                <a:gd name="connsiteY1820" fmla="*/ 158731 h 3762376"/>
                <a:gd name="connsiteX1821" fmla="*/ 5165074 w 6270621"/>
                <a:gd name="connsiteY1821" fmla="*/ 158731 h 3762376"/>
                <a:gd name="connsiteX1822" fmla="*/ 5212707 w 6270621"/>
                <a:gd name="connsiteY1822" fmla="*/ 174603 h 3762376"/>
                <a:gd name="connsiteX1823" fmla="*/ 5217999 w 6270621"/>
                <a:gd name="connsiteY1823" fmla="*/ 158731 h 3762376"/>
                <a:gd name="connsiteX1824" fmla="*/ 5255046 w 6270621"/>
                <a:gd name="connsiteY1824" fmla="*/ 132277 h 3762376"/>
                <a:gd name="connsiteX1825" fmla="*/ 5286801 w 6270621"/>
                <a:gd name="connsiteY1825" fmla="*/ 121696 h 3762376"/>
                <a:gd name="connsiteX1826" fmla="*/ 5329141 w 6270621"/>
                <a:gd name="connsiteY1826" fmla="*/ 126986 h 3762376"/>
                <a:gd name="connsiteX1827" fmla="*/ 5329141 w 6270621"/>
                <a:gd name="connsiteY1827" fmla="*/ 158731 h 3762376"/>
                <a:gd name="connsiteX1828" fmla="*/ 5366189 w 6270621"/>
                <a:gd name="connsiteY1828" fmla="*/ 179894 h 3762376"/>
                <a:gd name="connsiteX1829" fmla="*/ 5376774 w 6270621"/>
                <a:gd name="connsiteY1829" fmla="*/ 158731 h 3762376"/>
                <a:gd name="connsiteX1830" fmla="*/ 5397944 w 6270621"/>
                <a:gd name="connsiteY1830" fmla="*/ 148150 h 3762376"/>
                <a:gd name="connsiteX1831" fmla="*/ 5456161 w 6270621"/>
                <a:gd name="connsiteY1831" fmla="*/ 132277 h 3762376"/>
                <a:gd name="connsiteX1832" fmla="*/ 5456161 w 6270621"/>
                <a:gd name="connsiteY1832" fmla="*/ 116405 h 3762376"/>
                <a:gd name="connsiteX1833" fmla="*/ 5477331 w 6270621"/>
                <a:gd name="connsiteY1833" fmla="*/ 132277 h 3762376"/>
                <a:gd name="connsiteX1834" fmla="*/ 5519671 w 6270621"/>
                <a:gd name="connsiteY1834" fmla="*/ 142859 h 3762376"/>
                <a:gd name="connsiteX1835" fmla="*/ 5524964 w 6270621"/>
                <a:gd name="connsiteY1835" fmla="*/ 137568 h 3762376"/>
                <a:gd name="connsiteX1836" fmla="*/ 5519671 w 6270621"/>
                <a:gd name="connsiteY1836" fmla="*/ 111114 h 3762376"/>
                <a:gd name="connsiteX1837" fmla="*/ 5503794 w 6270621"/>
                <a:gd name="connsiteY1837" fmla="*/ 105823 h 3762376"/>
                <a:gd name="connsiteX1838" fmla="*/ 5493209 w 6270621"/>
                <a:gd name="connsiteY1838" fmla="*/ 84660 h 3762376"/>
                <a:gd name="connsiteX1839" fmla="*/ 5514379 w 6270621"/>
                <a:gd name="connsiteY1839" fmla="*/ 68788 h 3762376"/>
                <a:gd name="connsiteX1840" fmla="*/ 5540841 w 6270621"/>
                <a:gd name="connsiteY1840" fmla="*/ 74079 h 3762376"/>
                <a:gd name="connsiteX1841" fmla="*/ 5614936 w 6270621"/>
                <a:gd name="connsiteY1841" fmla="*/ 58207 h 3762376"/>
                <a:gd name="connsiteX1842" fmla="*/ 5657276 w 6270621"/>
                <a:gd name="connsiteY1842" fmla="*/ 47625 h 3762376"/>
                <a:gd name="connsiteX1843" fmla="*/ 5059358 w 6270621"/>
                <a:gd name="connsiteY1843" fmla="*/ 0 h 3762376"/>
                <a:gd name="connsiteX1844" fmla="*/ 5079996 w 6270621"/>
                <a:gd name="connsiteY1844" fmla="*/ 11113 h 3762376"/>
                <a:gd name="connsiteX1845" fmla="*/ 5054596 w 6270621"/>
                <a:gd name="connsiteY1845" fmla="*/ 36513 h 3762376"/>
                <a:gd name="connsiteX1846" fmla="*/ 4995858 w 6270621"/>
                <a:gd name="connsiteY1846" fmla="*/ 42863 h 3762376"/>
                <a:gd name="connsiteX1847" fmla="*/ 4959346 w 6270621"/>
                <a:gd name="connsiteY1847" fmla="*/ 52388 h 3762376"/>
                <a:gd name="connsiteX1848" fmla="*/ 4932358 w 6270621"/>
                <a:gd name="connsiteY1848" fmla="*/ 31750 h 3762376"/>
                <a:gd name="connsiteX1849" fmla="*/ 4932358 w 6270621"/>
                <a:gd name="connsiteY1849" fmla="*/ 63500 h 3762376"/>
                <a:gd name="connsiteX1850" fmla="*/ 4911721 w 6270621"/>
                <a:gd name="connsiteY1850" fmla="*/ 84138 h 3762376"/>
                <a:gd name="connsiteX1851" fmla="*/ 4895846 w 6270621"/>
                <a:gd name="connsiteY1851" fmla="*/ 106363 h 3762376"/>
                <a:gd name="connsiteX1852" fmla="*/ 4848221 w 6270621"/>
                <a:gd name="connsiteY1852" fmla="*/ 84138 h 3762376"/>
                <a:gd name="connsiteX1853" fmla="*/ 4848221 w 6270621"/>
                <a:gd name="connsiteY1853" fmla="*/ 52388 h 3762376"/>
                <a:gd name="connsiteX1854" fmla="*/ 4864096 w 6270621"/>
                <a:gd name="connsiteY1854" fmla="*/ 42863 h 3762376"/>
                <a:gd name="connsiteX1855" fmla="*/ 4900608 w 6270621"/>
                <a:gd name="connsiteY1855" fmla="*/ 47625 h 3762376"/>
                <a:gd name="connsiteX1856" fmla="*/ 4884733 w 6270621"/>
                <a:gd name="connsiteY1856" fmla="*/ 20638 h 3762376"/>
                <a:gd name="connsiteX1857" fmla="*/ 4900608 w 6270621"/>
                <a:gd name="connsiteY1857" fmla="*/ 15875 h 3762376"/>
                <a:gd name="connsiteX1858" fmla="*/ 4921246 w 6270621"/>
                <a:gd name="connsiteY1858" fmla="*/ 20638 h 3762376"/>
                <a:gd name="connsiteX1859" fmla="*/ 4948233 w 6270621"/>
                <a:gd name="connsiteY1859" fmla="*/ 11113 h 3762376"/>
                <a:gd name="connsiteX1860" fmla="*/ 4979983 w 6270621"/>
                <a:gd name="connsiteY1860" fmla="*/ 11113 h 3762376"/>
                <a:gd name="connsiteX1861" fmla="*/ 5027608 w 6270621"/>
                <a:gd name="connsiteY1861" fmla="*/ 11113 h 3762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</a:cxnLst>
              <a:rect l="l" t="t" r="r" b="b"/>
              <a:pathLst>
                <a:path w="6270621" h="3762376">
                  <a:moveTo>
                    <a:pt x="6122983" y="3598863"/>
                  </a:moveTo>
                  <a:lnTo>
                    <a:pt x="6138858" y="3630613"/>
                  </a:lnTo>
                  <a:lnTo>
                    <a:pt x="6111871" y="3662363"/>
                  </a:lnTo>
                  <a:lnTo>
                    <a:pt x="6022971" y="3746501"/>
                  </a:lnTo>
                  <a:lnTo>
                    <a:pt x="5975346" y="3762376"/>
                  </a:lnTo>
                  <a:lnTo>
                    <a:pt x="5927721" y="3751264"/>
                  </a:lnTo>
                  <a:lnTo>
                    <a:pt x="5921371" y="3735389"/>
                  </a:lnTo>
                  <a:lnTo>
                    <a:pt x="6027734" y="3678238"/>
                  </a:lnTo>
                  <a:lnTo>
                    <a:pt x="6107108" y="3608388"/>
                  </a:lnTo>
                  <a:close/>
                  <a:moveTo>
                    <a:pt x="5567359" y="3503613"/>
                  </a:moveTo>
                  <a:lnTo>
                    <a:pt x="5594347" y="3519488"/>
                  </a:lnTo>
                  <a:lnTo>
                    <a:pt x="5641971" y="3513138"/>
                  </a:lnTo>
                  <a:lnTo>
                    <a:pt x="5626096" y="3540126"/>
                  </a:lnTo>
                  <a:lnTo>
                    <a:pt x="5610221" y="3576638"/>
                  </a:lnTo>
                  <a:lnTo>
                    <a:pt x="5578472" y="3598863"/>
                  </a:lnTo>
                  <a:lnTo>
                    <a:pt x="5567359" y="3587751"/>
                  </a:lnTo>
                  <a:lnTo>
                    <a:pt x="5551484" y="3560763"/>
                  </a:lnTo>
                  <a:lnTo>
                    <a:pt x="5567359" y="3551238"/>
                  </a:lnTo>
                  <a:lnTo>
                    <a:pt x="5567359" y="3524251"/>
                  </a:lnTo>
                  <a:close/>
                  <a:moveTo>
                    <a:pt x="6212678" y="3408363"/>
                  </a:moveTo>
                  <a:cubicBezTo>
                    <a:pt x="6212678" y="3408363"/>
                    <a:pt x="6212678" y="3408363"/>
                    <a:pt x="6223213" y="3434693"/>
                  </a:cubicBezTo>
                  <a:cubicBezTo>
                    <a:pt x="6223213" y="3434693"/>
                    <a:pt x="6223213" y="3434693"/>
                    <a:pt x="6233748" y="3466288"/>
                  </a:cubicBezTo>
                  <a:cubicBezTo>
                    <a:pt x="6233748" y="3466288"/>
                    <a:pt x="6233748" y="3466288"/>
                    <a:pt x="6244283" y="3476819"/>
                  </a:cubicBezTo>
                  <a:cubicBezTo>
                    <a:pt x="6244283" y="3476819"/>
                    <a:pt x="6244283" y="3513680"/>
                    <a:pt x="6244283" y="3518946"/>
                  </a:cubicBezTo>
                  <a:cubicBezTo>
                    <a:pt x="6244283" y="3524212"/>
                    <a:pt x="6270621" y="3518946"/>
                    <a:pt x="6270621" y="3518946"/>
                  </a:cubicBezTo>
                  <a:cubicBezTo>
                    <a:pt x="6270621" y="3518946"/>
                    <a:pt x="6270621" y="3518946"/>
                    <a:pt x="6270621" y="3540010"/>
                  </a:cubicBezTo>
                  <a:cubicBezTo>
                    <a:pt x="6270621" y="3540010"/>
                    <a:pt x="6270621" y="3540010"/>
                    <a:pt x="6244283" y="3566339"/>
                  </a:cubicBezTo>
                  <a:cubicBezTo>
                    <a:pt x="6244283" y="3566339"/>
                    <a:pt x="6244283" y="3566339"/>
                    <a:pt x="6217945" y="3576871"/>
                  </a:cubicBezTo>
                  <a:cubicBezTo>
                    <a:pt x="6217945" y="3576871"/>
                    <a:pt x="6217945" y="3576871"/>
                    <a:pt x="6207410" y="3597934"/>
                  </a:cubicBezTo>
                  <a:cubicBezTo>
                    <a:pt x="6207410" y="3597934"/>
                    <a:pt x="6207410" y="3597934"/>
                    <a:pt x="6170537" y="3624263"/>
                  </a:cubicBezTo>
                  <a:cubicBezTo>
                    <a:pt x="6170537" y="3624263"/>
                    <a:pt x="6170537" y="3624263"/>
                    <a:pt x="6175805" y="3608466"/>
                  </a:cubicBezTo>
                  <a:cubicBezTo>
                    <a:pt x="6175805" y="3608466"/>
                    <a:pt x="6175805" y="3608466"/>
                    <a:pt x="6165269" y="3587402"/>
                  </a:cubicBezTo>
                  <a:cubicBezTo>
                    <a:pt x="6165269" y="3587402"/>
                    <a:pt x="6165269" y="3587402"/>
                    <a:pt x="6154734" y="3566339"/>
                  </a:cubicBezTo>
                  <a:cubicBezTo>
                    <a:pt x="6154734" y="3566339"/>
                    <a:pt x="6154734" y="3566339"/>
                    <a:pt x="6181072" y="3540010"/>
                  </a:cubicBezTo>
                  <a:cubicBezTo>
                    <a:pt x="6181072" y="3540010"/>
                    <a:pt x="6181072" y="3540010"/>
                    <a:pt x="6207410" y="3529478"/>
                  </a:cubicBezTo>
                  <a:cubicBezTo>
                    <a:pt x="6207410" y="3529478"/>
                    <a:pt x="6207410" y="3529478"/>
                    <a:pt x="6202143" y="3508414"/>
                  </a:cubicBezTo>
                  <a:cubicBezTo>
                    <a:pt x="6202143" y="3508414"/>
                    <a:pt x="6202143" y="3508414"/>
                    <a:pt x="6207410" y="3476819"/>
                  </a:cubicBezTo>
                  <a:cubicBezTo>
                    <a:pt x="6207410" y="3476819"/>
                    <a:pt x="6207410" y="3476819"/>
                    <a:pt x="6202143" y="3418895"/>
                  </a:cubicBezTo>
                  <a:close/>
                  <a:moveTo>
                    <a:pt x="5768070" y="2667000"/>
                  </a:moveTo>
                  <a:cubicBezTo>
                    <a:pt x="5768070" y="2667000"/>
                    <a:pt x="5768070" y="2667000"/>
                    <a:pt x="5783924" y="2677577"/>
                  </a:cubicBezTo>
                  <a:cubicBezTo>
                    <a:pt x="5783924" y="2677577"/>
                    <a:pt x="5783924" y="2677577"/>
                    <a:pt x="5783924" y="2762187"/>
                  </a:cubicBezTo>
                  <a:cubicBezTo>
                    <a:pt x="5783924" y="2762187"/>
                    <a:pt x="5783924" y="2762187"/>
                    <a:pt x="5815633" y="2772764"/>
                  </a:cubicBezTo>
                  <a:cubicBezTo>
                    <a:pt x="5815633" y="2772764"/>
                    <a:pt x="5805064" y="2815069"/>
                    <a:pt x="5810349" y="2815069"/>
                  </a:cubicBezTo>
                  <a:cubicBezTo>
                    <a:pt x="5810349" y="2820357"/>
                    <a:pt x="5815633" y="2857374"/>
                    <a:pt x="5815633" y="2857374"/>
                  </a:cubicBezTo>
                  <a:cubicBezTo>
                    <a:pt x="5815633" y="2857374"/>
                    <a:pt x="5815633" y="2857374"/>
                    <a:pt x="5810349" y="2889103"/>
                  </a:cubicBezTo>
                  <a:cubicBezTo>
                    <a:pt x="5810349" y="2889103"/>
                    <a:pt x="5810349" y="2889103"/>
                    <a:pt x="5842058" y="2926120"/>
                  </a:cubicBezTo>
                  <a:cubicBezTo>
                    <a:pt x="5842058" y="2926120"/>
                    <a:pt x="5842058" y="2926120"/>
                    <a:pt x="5852627" y="2973714"/>
                  </a:cubicBezTo>
                  <a:cubicBezTo>
                    <a:pt x="5852627" y="2973714"/>
                    <a:pt x="5852627" y="2973714"/>
                    <a:pt x="5863197" y="2994866"/>
                  </a:cubicBezTo>
                  <a:cubicBezTo>
                    <a:pt x="5863197" y="2994866"/>
                    <a:pt x="5863197" y="2994866"/>
                    <a:pt x="5868482" y="3021307"/>
                  </a:cubicBezTo>
                  <a:cubicBezTo>
                    <a:pt x="5868482" y="3021307"/>
                    <a:pt x="5868482" y="3021307"/>
                    <a:pt x="5889621" y="3063613"/>
                  </a:cubicBezTo>
                  <a:cubicBezTo>
                    <a:pt x="5889621" y="3063613"/>
                    <a:pt x="5889621" y="3063613"/>
                    <a:pt x="5889621" y="3127071"/>
                  </a:cubicBezTo>
                  <a:cubicBezTo>
                    <a:pt x="5889621" y="3127071"/>
                    <a:pt x="5889621" y="3127071"/>
                    <a:pt x="5879052" y="3179952"/>
                  </a:cubicBezTo>
                  <a:cubicBezTo>
                    <a:pt x="5879052" y="3179952"/>
                    <a:pt x="5879052" y="3179952"/>
                    <a:pt x="5820918" y="3291004"/>
                  </a:cubicBezTo>
                  <a:cubicBezTo>
                    <a:pt x="5820918" y="3291004"/>
                    <a:pt x="5820918" y="3291004"/>
                    <a:pt x="5757500" y="3354462"/>
                  </a:cubicBezTo>
                  <a:cubicBezTo>
                    <a:pt x="5757500" y="3354462"/>
                    <a:pt x="5757500" y="3354462"/>
                    <a:pt x="5741646" y="3375614"/>
                  </a:cubicBezTo>
                  <a:cubicBezTo>
                    <a:pt x="5741646" y="3375614"/>
                    <a:pt x="5741646" y="3375614"/>
                    <a:pt x="5709937" y="3433784"/>
                  </a:cubicBezTo>
                  <a:cubicBezTo>
                    <a:pt x="5709937" y="3433784"/>
                    <a:pt x="5709937" y="3433784"/>
                    <a:pt x="5678228" y="3428496"/>
                  </a:cubicBezTo>
                  <a:cubicBezTo>
                    <a:pt x="5678228" y="3428496"/>
                    <a:pt x="5678228" y="3428496"/>
                    <a:pt x="5662373" y="3439072"/>
                  </a:cubicBezTo>
                  <a:cubicBezTo>
                    <a:pt x="5662373" y="3439072"/>
                    <a:pt x="5662373" y="3439072"/>
                    <a:pt x="5625379" y="3465513"/>
                  </a:cubicBezTo>
                  <a:cubicBezTo>
                    <a:pt x="5625379" y="3465513"/>
                    <a:pt x="5625379" y="3465513"/>
                    <a:pt x="5609525" y="3433784"/>
                  </a:cubicBezTo>
                  <a:cubicBezTo>
                    <a:pt x="5609525" y="3433784"/>
                    <a:pt x="5609525" y="3433784"/>
                    <a:pt x="5572531" y="3439072"/>
                  </a:cubicBezTo>
                  <a:cubicBezTo>
                    <a:pt x="5572531" y="3439072"/>
                    <a:pt x="5572531" y="3439072"/>
                    <a:pt x="5530252" y="3417920"/>
                  </a:cubicBezTo>
                  <a:cubicBezTo>
                    <a:pt x="5530252" y="3417920"/>
                    <a:pt x="5530252" y="3417920"/>
                    <a:pt x="5514398" y="3396767"/>
                  </a:cubicBezTo>
                  <a:cubicBezTo>
                    <a:pt x="5514398" y="3396767"/>
                    <a:pt x="5514398" y="3396767"/>
                    <a:pt x="5524967" y="3375614"/>
                  </a:cubicBezTo>
                  <a:cubicBezTo>
                    <a:pt x="5524967" y="3375614"/>
                    <a:pt x="5524967" y="3375614"/>
                    <a:pt x="5524967" y="3343885"/>
                  </a:cubicBezTo>
                  <a:cubicBezTo>
                    <a:pt x="5524967" y="3343885"/>
                    <a:pt x="5524967" y="3343885"/>
                    <a:pt x="5519683" y="3333309"/>
                  </a:cubicBezTo>
                  <a:cubicBezTo>
                    <a:pt x="5519683" y="3333309"/>
                    <a:pt x="5519683" y="3333309"/>
                    <a:pt x="5530252" y="3301580"/>
                  </a:cubicBezTo>
                  <a:cubicBezTo>
                    <a:pt x="5530252" y="3301580"/>
                    <a:pt x="5530252" y="3301580"/>
                    <a:pt x="5509113" y="3322733"/>
                  </a:cubicBezTo>
                  <a:cubicBezTo>
                    <a:pt x="5509113" y="3322733"/>
                    <a:pt x="5509113" y="3322733"/>
                    <a:pt x="5498543" y="3343885"/>
                  </a:cubicBezTo>
                  <a:cubicBezTo>
                    <a:pt x="5498543" y="3343885"/>
                    <a:pt x="5498543" y="3343885"/>
                    <a:pt x="5477404" y="3349174"/>
                  </a:cubicBezTo>
                  <a:cubicBezTo>
                    <a:pt x="5477404" y="3349174"/>
                    <a:pt x="5477404" y="3349174"/>
                    <a:pt x="5472119" y="3338597"/>
                  </a:cubicBezTo>
                  <a:cubicBezTo>
                    <a:pt x="5472119" y="3338597"/>
                    <a:pt x="5472119" y="3338597"/>
                    <a:pt x="5503828" y="3306868"/>
                  </a:cubicBezTo>
                  <a:cubicBezTo>
                    <a:pt x="5503828" y="3306868"/>
                    <a:pt x="5503828" y="3306868"/>
                    <a:pt x="5524967" y="3280427"/>
                  </a:cubicBezTo>
                  <a:cubicBezTo>
                    <a:pt x="5524967" y="3280427"/>
                    <a:pt x="5524967" y="3280427"/>
                    <a:pt x="5530252" y="3253987"/>
                  </a:cubicBezTo>
                  <a:cubicBezTo>
                    <a:pt x="5530252" y="3253987"/>
                    <a:pt x="5530252" y="3253987"/>
                    <a:pt x="5487973" y="3291004"/>
                  </a:cubicBezTo>
                  <a:cubicBezTo>
                    <a:pt x="5487973" y="3291004"/>
                    <a:pt x="5487973" y="3291004"/>
                    <a:pt x="5472119" y="3312156"/>
                  </a:cubicBezTo>
                  <a:cubicBezTo>
                    <a:pt x="5472119" y="3312156"/>
                    <a:pt x="5472119" y="3312156"/>
                    <a:pt x="5461549" y="3301580"/>
                  </a:cubicBezTo>
                  <a:cubicBezTo>
                    <a:pt x="5461549" y="3301580"/>
                    <a:pt x="5461549" y="3301580"/>
                    <a:pt x="5461549" y="3269851"/>
                  </a:cubicBezTo>
                  <a:cubicBezTo>
                    <a:pt x="5461549" y="3269851"/>
                    <a:pt x="5461549" y="3269851"/>
                    <a:pt x="5450980" y="3227546"/>
                  </a:cubicBezTo>
                  <a:cubicBezTo>
                    <a:pt x="5450980" y="3227546"/>
                    <a:pt x="5450980" y="3227546"/>
                    <a:pt x="5419271" y="3201105"/>
                  </a:cubicBezTo>
                  <a:cubicBezTo>
                    <a:pt x="5419271" y="3201105"/>
                    <a:pt x="5419271" y="3201105"/>
                    <a:pt x="5371707" y="3201105"/>
                  </a:cubicBezTo>
                  <a:cubicBezTo>
                    <a:pt x="5371707" y="3201105"/>
                    <a:pt x="5371707" y="3201105"/>
                    <a:pt x="5339998" y="3216969"/>
                  </a:cubicBezTo>
                  <a:cubicBezTo>
                    <a:pt x="5339998" y="3216969"/>
                    <a:pt x="5339998" y="3216969"/>
                    <a:pt x="5324143" y="3206393"/>
                  </a:cubicBezTo>
                  <a:cubicBezTo>
                    <a:pt x="5324143" y="3206393"/>
                    <a:pt x="5324143" y="3206393"/>
                    <a:pt x="5260725" y="3222258"/>
                  </a:cubicBezTo>
                  <a:cubicBezTo>
                    <a:pt x="5260725" y="3222258"/>
                    <a:pt x="5260725" y="3222258"/>
                    <a:pt x="5239586" y="3248698"/>
                  </a:cubicBezTo>
                  <a:cubicBezTo>
                    <a:pt x="5239586" y="3248698"/>
                    <a:pt x="5239586" y="3248698"/>
                    <a:pt x="5176168" y="3238122"/>
                  </a:cubicBezTo>
                  <a:cubicBezTo>
                    <a:pt x="5176168" y="3238122"/>
                    <a:pt x="5176168" y="3238122"/>
                    <a:pt x="5118034" y="3259275"/>
                  </a:cubicBezTo>
                  <a:cubicBezTo>
                    <a:pt x="5118034" y="3259275"/>
                    <a:pt x="5118034" y="3259275"/>
                    <a:pt x="5086325" y="3253987"/>
                  </a:cubicBezTo>
                  <a:cubicBezTo>
                    <a:pt x="5086325" y="3253987"/>
                    <a:pt x="5086325" y="3253987"/>
                    <a:pt x="5070471" y="3232834"/>
                  </a:cubicBezTo>
                  <a:cubicBezTo>
                    <a:pt x="5070471" y="3232834"/>
                    <a:pt x="5070471" y="3232834"/>
                    <a:pt x="5091610" y="3211681"/>
                  </a:cubicBezTo>
                  <a:cubicBezTo>
                    <a:pt x="5091610" y="3211681"/>
                    <a:pt x="5091610" y="3211681"/>
                    <a:pt x="5118034" y="3169376"/>
                  </a:cubicBezTo>
                  <a:cubicBezTo>
                    <a:pt x="5118034" y="3169376"/>
                    <a:pt x="5118034" y="3169376"/>
                    <a:pt x="5107465" y="3142935"/>
                  </a:cubicBezTo>
                  <a:cubicBezTo>
                    <a:pt x="5107465" y="3142935"/>
                    <a:pt x="5107465" y="3142935"/>
                    <a:pt x="5107465" y="3063613"/>
                  </a:cubicBezTo>
                  <a:cubicBezTo>
                    <a:pt x="5107465" y="3063613"/>
                    <a:pt x="5107465" y="3063613"/>
                    <a:pt x="5118034" y="3010731"/>
                  </a:cubicBezTo>
                  <a:cubicBezTo>
                    <a:pt x="5118034" y="3010731"/>
                    <a:pt x="5118034" y="3010731"/>
                    <a:pt x="5128604" y="2936697"/>
                  </a:cubicBezTo>
                  <a:lnTo>
                    <a:pt x="5181452" y="2894391"/>
                  </a:lnTo>
                  <a:cubicBezTo>
                    <a:pt x="5181452" y="2894391"/>
                    <a:pt x="5181452" y="2894391"/>
                    <a:pt x="5244870" y="2867951"/>
                  </a:cubicBezTo>
                  <a:cubicBezTo>
                    <a:pt x="5244870" y="2867951"/>
                    <a:pt x="5244870" y="2867951"/>
                    <a:pt x="5281864" y="2867951"/>
                  </a:cubicBezTo>
                  <a:cubicBezTo>
                    <a:pt x="5281864" y="2867951"/>
                    <a:pt x="5281864" y="2867951"/>
                    <a:pt x="5313573" y="2852086"/>
                  </a:cubicBezTo>
                  <a:cubicBezTo>
                    <a:pt x="5313573" y="2852086"/>
                    <a:pt x="5313573" y="2852086"/>
                    <a:pt x="5329428" y="2836222"/>
                  </a:cubicBezTo>
                  <a:cubicBezTo>
                    <a:pt x="5329428" y="2836222"/>
                    <a:pt x="5329428" y="2836222"/>
                    <a:pt x="5329428" y="2804493"/>
                  </a:cubicBezTo>
                  <a:cubicBezTo>
                    <a:pt x="5329428" y="2804493"/>
                    <a:pt x="5329428" y="2804493"/>
                    <a:pt x="5350567" y="2783340"/>
                  </a:cubicBezTo>
                  <a:cubicBezTo>
                    <a:pt x="5350567" y="2783340"/>
                    <a:pt x="5350567" y="2783340"/>
                    <a:pt x="5350567" y="2799204"/>
                  </a:cubicBezTo>
                  <a:cubicBezTo>
                    <a:pt x="5350567" y="2799204"/>
                    <a:pt x="5350567" y="2799204"/>
                    <a:pt x="5361137" y="2820357"/>
                  </a:cubicBezTo>
                  <a:cubicBezTo>
                    <a:pt x="5361137" y="2820357"/>
                    <a:pt x="5361137" y="2820357"/>
                    <a:pt x="5366422" y="2788628"/>
                  </a:cubicBezTo>
                  <a:cubicBezTo>
                    <a:pt x="5366422" y="2788628"/>
                    <a:pt x="5366422" y="2788628"/>
                    <a:pt x="5382277" y="2788628"/>
                  </a:cubicBezTo>
                  <a:cubicBezTo>
                    <a:pt x="5382277" y="2788628"/>
                    <a:pt x="5382277" y="2788628"/>
                    <a:pt x="5382277" y="2772764"/>
                  </a:cubicBezTo>
                  <a:cubicBezTo>
                    <a:pt x="5382277" y="2772764"/>
                    <a:pt x="5382277" y="2772764"/>
                    <a:pt x="5419271" y="2741035"/>
                  </a:cubicBezTo>
                  <a:cubicBezTo>
                    <a:pt x="5419271" y="2741035"/>
                    <a:pt x="5419271" y="2741035"/>
                    <a:pt x="5445695" y="2719882"/>
                  </a:cubicBezTo>
                  <a:cubicBezTo>
                    <a:pt x="5445695" y="2719882"/>
                    <a:pt x="5445695" y="2719882"/>
                    <a:pt x="5466834" y="2751611"/>
                  </a:cubicBezTo>
                  <a:cubicBezTo>
                    <a:pt x="5466834" y="2751611"/>
                    <a:pt x="5466834" y="2751611"/>
                    <a:pt x="5456264" y="2778052"/>
                  </a:cubicBezTo>
                  <a:cubicBezTo>
                    <a:pt x="5456264" y="2778052"/>
                    <a:pt x="5456264" y="2778052"/>
                    <a:pt x="5498543" y="2767475"/>
                  </a:cubicBezTo>
                  <a:cubicBezTo>
                    <a:pt x="5498543" y="2767475"/>
                    <a:pt x="5498543" y="2767475"/>
                    <a:pt x="5487973" y="2741035"/>
                  </a:cubicBezTo>
                  <a:cubicBezTo>
                    <a:pt x="5487973" y="2741035"/>
                    <a:pt x="5503828" y="2719882"/>
                    <a:pt x="5503828" y="2725170"/>
                  </a:cubicBezTo>
                  <a:cubicBezTo>
                    <a:pt x="5503828" y="2725170"/>
                    <a:pt x="5524967" y="2688153"/>
                    <a:pt x="5524967" y="2688153"/>
                  </a:cubicBezTo>
                  <a:cubicBezTo>
                    <a:pt x="5524967" y="2688153"/>
                    <a:pt x="5524967" y="2688153"/>
                    <a:pt x="5577816" y="2677577"/>
                  </a:cubicBezTo>
                  <a:cubicBezTo>
                    <a:pt x="5577816" y="2677577"/>
                    <a:pt x="5577816" y="2677577"/>
                    <a:pt x="5620094" y="2698729"/>
                  </a:cubicBezTo>
                  <a:cubicBezTo>
                    <a:pt x="5620094" y="2698729"/>
                    <a:pt x="5620094" y="2698729"/>
                    <a:pt x="5641234" y="2688153"/>
                  </a:cubicBezTo>
                  <a:cubicBezTo>
                    <a:pt x="5641234" y="2688153"/>
                    <a:pt x="5641234" y="2688153"/>
                    <a:pt x="5657088" y="2704017"/>
                  </a:cubicBezTo>
                  <a:cubicBezTo>
                    <a:pt x="5657088" y="2704017"/>
                    <a:pt x="5657088" y="2704017"/>
                    <a:pt x="5630664" y="2735746"/>
                  </a:cubicBezTo>
                  <a:cubicBezTo>
                    <a:pt x="5630664" y="2735746"/>
                    <a:pt x="5630664" y="2735746"/>
                    <a:pt x="5614810" y="2772764"/>
                  </a:cubicBezTo>
                  <a:cubicBezTo>
                    <a:pt x="5614810" y="2772764"/>
                    <a:pt x="5614810" y="2772764"/>
                    <a:pt x="5651803" y="2820357"/>
                  </a:cubicBezTo>
                  <a:cubicBezTo>
                    <a:pt x="5651803" y="2820357"/>
                    <a:pt x="5651803" y="2820357"/>
                    <a:pt x="5683513" y="2852086"/>
                  </a:cubicBezTo>
                  <a:cubicBezTo>
                    <a:pt x="5683513" y="2852086"/>
                    <a:pt x="5683513" y="2852086"/>
                    <a:pt x="5704652" y="2852086"/>
                  </a:cubicBezTo>
                  <a:cubicBezTo>
                    <a:pt x="5704652" y="2852086"/>
                    <a:pt x="5704652" y="2852086"/>
                    <a:pt x="5715222" y="2830933"/>
                  </a:cubicBezTo>
                  <a:cubicBezTo>
                    <a:pt x="5715222" y="2830933"/>
                    <a:pt x="5715222" y="2830933"/>
                    <a:pt x="5731076" y="2762187"/>
                  </a:cubicBezTo>
                  <a:cubicBezTo>
                    <a:pt x="5731076" y="2762187"/>
                    <a:pt x="5731076" y="2762187"/>
                    <a:pt x="5757500" y="2693441"/>
                  </a:cubicBezTo>
                  <a:cubicBezTo>
                    <a:pt x="5757500" y="2693441"/>
                    <a:pt x="5757500" y="2693441"/>
                    <a:pt x="5768070" y="2667000"/>
                  </a:cubicBezTo>
                  <a:close/>
                  <a:moveTo>
                    <a:pt x="3889371" y="2630488"/>
                  </a:moveTo>
                  <a:lnTo>
                    <a:pt x="3900484" y="2671763"/>
                  </a:lnTo>
                  <a:lnTo>
                    <a:pt x="3900484" y="2709863"/>
                  </a:lnTo>
                  <a:lnTo>
                    <a:pt x="3878259" y="2725738"/>
                  </a:lnTo>
                  <a:lnTo>
                    <a:pt x="3884609" y="2751138"/>
                  </a:lnTo>
                  <a:lnTo>
                    <a:pt x="3830634" y="2873376"/>
                  </a:lnTo>
                  <a:lnTo>
                    <a:pt x="3805234" y="2921001"/>
                  </a:lnTo>
                  <a:lnTo>
                    <a:pt x="3767134" y="2921001"/>
                  </a:lnTo>
                  <a:lnTo>
                    <a:pt x="3751259" y="2894014"/>
                  </a:lnTo>
                  <a:lnTo>
                    <a:pt x="3751259" y="2836864"/>
                  </a:lnTo>
                  <a:lnTo>
                    <a:pt x="3778246" y="2809876"/>
                  </a:lnTo>
                  <a:lnTo>
                    <a:pt x="3767134" y="2746376"/>
                  </a:lnTo>
                  <a:lnTo>
                    <a:pt x="3778246" y="2719388"/>
                  </a:lnTo>
                  <a:lnTo>
                    <a:pt x="3814759" y="2714626"/>
                  </a:lnTo>
                  <a:lnTo>
                    <a:pt x="3846509" y="2682876"/>
                  </a:lnTo>
                  <a:close/>
                  <a:moveTo>
                    <a:pt x="5038721" y="2519363"/>
                  </a:moveTo>
                  <a:lnTo>
                    <a:pt x="5064121" y="2519363"/>
                  </a:lnTo>
                  <a:lnTo>
                    <a:pt x="5091109" y="2535238"/>
                  </a:lnTo>
                  <a:lnTo>
                    <a:pt x="5133971" y="2528888"/>
                  </a:lnTo>
                  <a:lnTo>
                    <a:pt x="5165721" y="2535238"/>
                  </a:lnTo>
                  <a:lnTo>
                    <a:pt x="5186358" y="2560639"/>
                  </a:lnTo>
                  <a:lnTo>
                    <a:pt x="5206996" y="2571751"/>
                  </a:lnTo>
                  <a:lnTo>
                    <a:pt x="5197471" y="2587626"/>
                  </a:lnTo>
                  <a:lnTo>
                    <a:pt x="5095871" y="2560639"/>
                  </a:lnTo>
                  <a:lnTo>
                    <a:pt x="5027609" y="2540001"/>
                  </a:lnTo>
                  <a:close/>
                  <a:moveTo>
                    <a:pt x="5594346" y="2386013"/>
                  </a:moveTo>
                  <a:lnTo>
                    <a:pt x="5619746" y="2386013"/>
                  </a:lnTo>
                  <a:lnTo>
                    <a:pt x="5619746" y="2424113"/>
                  </a:lnTo>
                  <a:lnTo>
                    <a:pt x="5641971" y="2455863"/>
                  </a:lnTo>
                  <a:lnTo>
                    <a:pt x="5667371" y="2433638"/>
                  </a:lnTo>
                  <a:lnTo>
                    <a:pt x="5694359" y="2408238"/>
                  </a:lnTo>
                  <a:lnTo>
                    <a:pt x="5768971" y="2455863"/>
                  </a:lnTo>
                  <a:lnTo>
                    <a:pt x="5841996" y="2487613"/>
                  </a:lnTo>
                  <a:lnTo>
                    <a:pt x="5853109" y="2519363"/>
                  </a:lnTo>
                  <a:lnTo>
                    <a:pt x="5905496" y="2535238"/>
                  </a:lnTo>
                  <a:lnTo>
                    <a:pt x="5953121" y="2524126"/>
                  </a:lnTo>
                  <a:lnTo>
                    <a:pt x="5968996" y="2497138"/>
                  </a:lnTo>
                  <a:lnTo>
                    <a:pt x="5991221" y="2503488"/>
                  </a:lnTo>
                  <a:lnTo>
                    <a:pt x="5959471" y="2544763"/>
                  </a:lnTo>
                  <a:lnTo>
                    <a:pt x="5911846" y="2544763"/>
                  </a:lnTo>
                  <a:lnTo>
                    <a:pt x="5873746" y="2551113"/>
                  </a:lnTo>
                  <a:lnTo>
                    <a:pt x="5889621" y="2587626"/>
                  </a:lnTo>
                  <a:lnTo>
                    <a:pt x="5905496" y="2624138"/>
                  </a:lnTo>
                  <a:lnTo>
                    <a:pt x="5948359" y="2655888"/>
                  </a:lnTo>
                  <a:lnTo>
                    <a:pt x="5927721" y="2678113"/>
                  </a:lnTo>
                  <a:lnTo>
                    <a:pt x="5880096" y="2667001"/>
                  </a:lnTo>
                  <a:lnTo>
                    <a:pt x="5864221" y="2635251"/>
                  </a:lnTo>
                  <a:lnTo>
                    <a:pt x="5864221" y="2608263"/>
                  </a:lnTo>
                  <a:lnTo>
                    <a:pt x="5837234" y="2576513"/>
                  </a:lnTo>
                  <a:lnTo>
                    <a:pt x="5826121" y="2587626"/>
                  </a:lnTo>
                  <a:lnTo>
                    <a:pt x="5784846" y="2598738"/>
                  </a:lnTo>
                  <a:lnTo>
                    <a:pt x="5800721" y="2619376"/>
                  </a:lnTo>
                  <a:lnTo>
                    <a:pt x="5746746" y="2624138"/>
                  </a:lnTo>
                  <a:lnTo>
                    <a:pt x="5705471" y="2587626"/>
                  </a:lnTo>
                  <a:lnTo>
                    <a:pt x="5705471" y="2566988"/>
                  </a:lnTo>
                  <a:lnTo>
                    <a:pt x="5705471" y="2524126"/>
                  </a:lnTo>
                  <a:lnTo>
                    <a:pt x="5662609" y="2497138"/>
                  </a:lnTo>
                  <a:lnTo>
                    <a:pt x="5614984" y="2476501"/>
                  </a:lnTo>
                  <a:lnTo>
                    <a:pt x="5587996" y="2481263"/>
                  </a:lnTo>
                  <a:lnTo>
                    <a:pt x="5583234" y="2460626"/>
                  </a:lnTo>
                  <a:lnTo>
                    <a:pt x="5572121" y="2444751"/>
                  </a:lnTo>
                  <a:lnTo>
                    <a:pt x="5599109" y="2428876"/>
                  </a:lnTo>
                  <a:lnTo>
                    <a:pt x="5556246" y="2392363"/>
                  </a:lnTo>
                  <a:close/>
                  <a:moveTo>
                    <a:pt x="5356030" y="2333625"/>
                  </a:moveTo>
                  <a:cubicBezTo>
                    <a:pt x="5356030" y="2333625"/>
                    <a:pt x="5356030" y="2333625"/>
                    <a:pt x="5408735" y="2349546"/>
                  </a:cubicBezTo>
                  <a:cubicBezTo>
                    <a:pt x="5408735" y="2349546"/>
                    <a:pt x="5408735" y="2349546"/>
                    <a:pt x="5440358" y="2333625"/>
                  </a:cubicBezTo>
                  <a:lnTo>
                    <a:pt x="5424547" y="2360159"/>
                  </a:lnTo>
                  <a:cubicBezTo>
                    <a:pt x="5424547" y="2360159"/>
                    <a:pt x="5424547" y="2360159"/>
                    <a:pt x="5392924" y="2360159"/>
                  </a:cubicBezTo>
                  <a:cubicBezTo>
                    <a:pt x="5392924" y="2360159"/>
                    <a:pt x="5392924" y="2360159"/>
                    <a:pt x="5356030" y="2360159"/>
                  </a:cubicBezTo>
                  <a:cubicBezTo>
                    <a:pt x="5356030" y="2360159"/>
                    <a:pt x="5356030" y="2360159"/>
                    <a:pt x="5340219" y="2392000"/>
                  </a:cubicBezTo>
                  <a:cubicBezTo>
                    <a:pt x="5340219" y="2392000"/>
                    <a:pt x="5340219" y="2392000"/>
                    <a:pt x="5382383" y="2423841"/>
                  </a:cubicBezTo>
                  <a:cubicBezTo>
                    <a:pt x="5382383" y="2423841"/>
                    <a:pt x="5382383" y="2423841"/>
                    <a:pt x="5398194" y="2476909"/>
                  </a:cubicBezTo>
                  <a:cubicBezTo>
                    <a:pt x="5398194" y="2476909"/>
                    <a:pt x="5398194" y="2476909"/>
                    <a:pt x="5387653" y="2498136"/>
                  </a:cubicBezTo>
                  <a:cubicBezTo>
                    <a:pt x="5387653" y="2498136"/>
                    <a:pt x="5387653" y="2498136"/>
                    <a:pt x="5361301" y="2492829"/>
                  </a:cubicBezTo>
                  <a:cubicBezTo>
                    <a:pt x="5361301" y="2492829"/>
                    <a:pt x="5361301" y="2492829"/>
                    <a:pt x="5361301" y="2460988"/>
                  </a:cubicBezTo>
                  <a:cubicBezTo>
                    <a:pt x="5361301" y="2460988"/>
                    <a:pt x="5361301" y="2460988"/>
                    <a:pt x="5340219" y="2429148"/>
                  </a:cubicBezTo>
                  <a:cubicBezTo>
                    <a:pt x="5340219" y="2429148"/>
                    <a:pt x="5340219" y="2429148"/>
                    <a:pt x="5345489" y="2466295"/>
                  </a:cubicBezTo>
                  <a:cubicBezTo>
                    <a:pt x="5345489" y="2466295"/>
                    <a:pt x="5345489" y="2466295"/>
                    <a:pt x="5329678" y="2508750"/>
                  </a:cubicBezTo>
                  <a:cubicBezTo>
                    <a:pt x="5329678" y="2508750"/>
                    <a:pt x="5324407" y="2519363"/>
                    <a:pt x="5313866" y="2503443"/>
                  </a:cubicBezTo>
                  <a:cubicBezTo>
                    <a:pt x="5313866" y="2503443"/>
                    <a:pt x="5313866" y="2503443"/>
                    <a:pt x="5313866" y="2460988"/>
                  </a:cubicBezTo>
                  <a:cubicBezTo>
                    <a:pt x="5313866" y="2460988"/>
                    <a:pt x="5313866" y="2460988"/>
                    <a:pt x="5308596" y="2434454"/>
                  </a:cubicBezTo>
                  <a:cubicBezTo>
                    <a:pt x="5308596" y="2434454"/>
                    <a:pt x="5308596" y="2434454"/>
                    <a:pt x="5319137" y="2407920"/>
                  </a:cubicBezTo>
                  <a:cubicBezTo>
                    <a:pt x="5319137" y="2407920"/>
                    <a:pt x="5319137" y="2407920"/>
                    <a:pt x="5324407" y="2370773"/>
                  </a:cubicBezTo>
                  <a:cubicBezTo>
                    <a:pt x="5324407" y="2370773"/>
                    <a:pt x="5324407" y="2370773"/>
                    <a:pt x="5356030" y="2333625"/>
                  </a:cubicBezTo>
                  <a:close/>
                  <a:moveTo>
                    <a:pt x="4816471" y="2233613"/>
                  </a:moveTo>
                  <a:lnTo>
                    <a:pt x="4848221" y="2233613"/>
                  </a:lnTo>
                  <a:lnTo>
                    <a:pt x="4921246" y="2312988"/>
                  </a:lnTo>
                  <a:lnTo>
                    <a:pt x="4952996" y="2333626"/>
                  </a:lnTo>
                  <a:lnTo>
                    <a:pt x="4991096" y="2381251"/>
                  </a:lnTo>
                  <a:lnTo>
                    <a:pt x="5016496" y="2417763"/>
                  </a:lnTo>
                  <a:lnTo>
                    <a:pt x="5032371" y="2433638"/>
                  </a:lnTo>
                  <a:lnTo>
                    <a:pt x="5027608" y="2471738"/>
                  </a:lnTo>
                  <a:lnTo>
                    <a:pt x="5027608" y="2503488"/>
                  </a:lnTo>
                  <a:lnTo>
                    <a:pt x="4991096" y="2492376"/>
                  </a:lnTo>
                  <a:lnTo>
                    <a:pt x="4952996" y="2455863"/>
                  </a:lnTo>
                  <a:lnTo>
                    <a:pt x="4905371" y="2360613"/>
                  </a:lnTo>
                  <a:lnTo>
                    <a:pt x="4884733" y="2322513"/>
                  </a:lnTo>
                  <a:lnTo>
                    <a:pt x="4864096" y="2301876"/>
                  </a:lnTo>
                  <a:lnTo>
                    <a:pt x="4825996" y="2254251"/>
                  </a:lnTo>
                  <a:close/>
                  <a:moveTo>
                    <a:pt x="5254621" y="2195513"/>
                  </a:moveTo>
                  <a:lnTo>
                    <a:pt x="5308596" y="2238376"/>
                  </a:lnTo>
                  <a:lnTo>
                    <a:pt x="5286371" y="2259013"/>
                  </a:lnTo>
                  <a:lnTo>
                    <a:pt x="5276846" y="2259013"/>
                  </a:lnTo>
                  <a:lnTo>
                    <a:pt x="5281608" y="2322513"/>
                  </a:lnTo>
                  <a:lnTo>
                    <a:pt x="5308596" y="2349501"/>
                  </a:lnTo>
                  <a:lnTo>
                    <a:pt x="5286371" y="2354263"/>
                  </a:lnTo>
                  <a:lnTo>
                    <a:pt x="5260971" y="2381251"/>
                  </a:lnTo>
                  <a:lnTo>
                    <a:pt x="5260971" y="2401889"/>
                  </a:lnTo>
                  <a:lnTo>
                    <a:pt x="5238746" y="2455864"/>
                  </a:lnTo>
                  <a:lnTo>
                    <a:pt x="5222871" y="2476501"/>
                  </a:lnTo>
                  <a:lnTo>
                    <a:pt x="5206996" y="2449514"/>
                  </a:lnTo>
                  <a:lnTo>
                    <a:pt x="5159371" y="2433639"/>
                  </a:lnTo>
                  <a:lnTo>
                    <a:pt x="5133971" y="2433639"/>
                  </a:lnTo>
                  <a:lnTo>
                    <a:pt x="5111746" y="2381251"/>
                  </a:lnTo>
                  <a:lnTo>
                    <a:pt x="5102221" y="2354263"/>
                  </a:lnTo>
                  <a:lnTo>
                    <a:pt x="5118096" y="2338388"/>
                  </a:lnTo>
                  <a:lnTo>
                    <a:pt x="5154608" y="2333626"/>
                  </a:lnTo>
                  <a:lnTo>
                    <a:pt x="5154608" y="2306638"/>
                  </a:lnTo>
                  <a:lnTo>
                    <a:pt x="5186358" y="2286001"/>
                  </a:lnTo>
                  <a:lnTo>
                    <a:pt x="5206996" y="2249488"/>
                  </a:lnTo>
                  <a:lnTo>
                    <a:pt x="5233983" y="2243138"/>
                  </a:lnTo>
                  <a:close/>
                  <a:moveTo>
                    <a:pt x="5307572" y="1900238"/>
                  </a:moveTo>
                  <a:lnTo>
                    <a:pt x="5339526" y="1900238"/>
                  </a:lnTo>
                  <a:cubicBezTo>
                    <a:pt x="5339526" y="1900238"/>
                    <a:pt x="5339526" y="1900238"/>
                    <a:pt x="5339526" y="1968917"/>
                  </a:cubicBezTo>
                  <a:cubicBezTo>
                    <a:pt x="5339526" y="1968917"/>
                    <a:pt x="5350178" y="2000615"/>
                    <a:pt x="5350178" y="2000615"/>
                  </a:cubicBezTo>
                  <a:cubicBezTo>
                    <a:pt x="5355504" y="2000615"/>
                    <a:pt x="5392785" y="2021747"/>
                    <a:pt x="5392785" y="2021747"/>
                  </a:cubicBezTo>
                  <a:cubicBezTo>
                    <a:pt x="5392785" y="2021747"/>
                    <a:pt x="5392785" y="2021747"/>
                    <a:pt x="5430066" y="2058728"/>
                  </a:cubicBezTo>
                  <a:cubicBezTo>
                    <a:pt x="5430066" y="2058728"/>
                    <a:pt x="5430066" y="2058728"/>
                    <a:pt x="5435391" y="2106275"/>
                  </a:cubicBezTo>
                  <a:cubicBezTo>
                    <a:pt x="5435391" y="2106275"/>
                    <a:pt x="5435391" y="2106275"/>
                    <a:pt x="5456695" y="2137973"/>
                  </a:cubicBezTo>
                  <a:cubicBezTo>
                    <a:pt x="5456695" y="2137973"/>
                    <a:pt x="5456695" y="2137973"/>
                    <a:pt x="5467346" y="2185520"/>
                  </a:cubicBezTo>
                  <a:cubicBezTo>
                    <a:pt x="5467346" y="2185520"/>
                    <a:pt x="5467346" y="2185520"/>
                    <a:pt x="5451369" y="2196086"/>
                  </a:cubicBezTo>
                  <a:cubicBezTo>
                    <a:pt x="5451369" y="2196086"/>
                    <a:pt x="5451369" y="2196086"/>
                    <a:pt x="5451369" y="2222501"/>
                  </a:cubicBezTo>
                  <a:cubicBezTo>
                    <a:pt x="5451369" y="2222501"/>
                    <a:pt x="5451369" y="2222501"/>
                    <a:pt x="5392785" y="2196086"/>
                  </a:cubicBezTo>
                  <a:cubicBezTo>
                    <a:pt x="5392785" y="2196086"/>
                    <a:pt x="5392785" y="2196086"/>
                    <a:pt x="5371482" y="2137973"/>
                  </a:cubicBezTo>
                  <a:cubicBezTo>
                    <a:pt x="5371482" y="2137973"/>
                    <a:pt x="5371482" y="2137973"/>
                    <a:pt x="5371482" y="2111558"/>
                  </a:cubicBezTo>
                  <a:cubicBezTo>
                    <a:pt x="5371482" y="2111558"/>
                    <a:pt x="5371482" y="2111558"/>
                    <a:pt x="5350178" y="2064011"/>
                  </a:cubicBezTo>
                  <a:cubicBezTo>
                    <a:pt x="5350178" y="2064011"/>
                    <a:pt x="5350178" y="2064011"/>
                    <a:pt x="5328875" y="2016464"/>
                  </a:cubicBezTo>
                  <a:cubicBezTo>
                    <a:pt x="5328875" y="2016464"/>
                    <a:pt x="5328875" y="2016464"/>
                    <a:pt x="5302246" y="1979483"/>
                  </a:cubicBezTo>
                  <a:cubicBezTo>
                    <a:pt x="5302246" y="1979483"/>
                    <a:pt x="5302246" y="1979483"/>
                    <a:pt x="5307572" y="1900238"/>
                  </a:cubicBezTo>
                  <a:close/>
                  <a:moveTo>
                    <a:pt x="5487984" y="1127125"/>
                  </a:moveTo>
                  <a:lnTo>
                    <a:pt x="5508621" y="1127125"/>
                  </a:lnTo>
                  <a:lnTo>
                    <a:pt x="5535609" y="1147763"/>
                  </a:lnTo>
                  <a:lnTo>
                    <a:pt x="5556246" y="1154113"/>
                  </a:lnTo>
                  <a:lnTo>
                    <a:pt x="5578471" y="1138238"/>
                  </a:lnTo>
                  <a:lnTo>
                    <a:pt x="5587996" y="1131888"/>
                  </a:lnTo>
                  <a:lnTo>
                    <a:pt x="5587996" y="1158875"/>
                  </a:lnTo>
                  <a:lnTo>
                    <a:pt x="5587996" y="1185863"/>
                  </a:lnTo>
                  <a:lnTo>
                    <a:pt x="5546721" y="1195388"/>
                  </a:lnTo>
                  <a:lnTo>
                    <a:pt x="5556246" y="1217613"/>
                  </a:lnTo>
                  <a:lnTo>
                    <a:pt x="5556246" y="1227138"/>
                  </a:lnTo>
                  <a:lnTo>
                    <a:pt x="5514971" y="1206500"/>
                  </a:lnTo>
                  <a:lnTo>
                    <a:pt x="5508621" y="1227138"/>
                  </a:lnTo>
                  <a:lnTo>
                    <a:pt x="5535609" y="1243013"/>
                  </a:lnTo>
                  <a:lnTo>
                    <a:pt x="5535609" y="1265238"/>
                  </a:lnTo>
                  <a:lnTo>
                    <a:pt x="5567359" y="1312863"/>
                  </a:lnTo>
                  <a:lnTo>
                    <a:pt x="5567359" y="1338263"/>
                  </a:lnTo>
                  <a:lnTo>
                    <a:pt x="5578471" y="1417638"/>
                  </a:lnTo>
                  <a:lnTo>
                    <a:pt x="5535609" y="1460501"/>
                  </a:lnTo>
                  <a:lnTo>
                    <a:pt x="5472109" y="1497013"/>
                  </a:lnTo>
                  <a:lnTo>
                    <a:pt x="5440359" y="1512888"/>
                  </a:lnTo>
                  <a:lnTo>
                    <a:pt x="5440359" y="1544638"/>
                  </a:lnTo>
                  <a:lnTo>
                    <a:pt x="5424484" y="1560513"/>
                  </a:lnTo>
                  <a:lnTo>
                    <a:pt x="5403847" y="1535113"/>
                  </a:lnTo>
                  <a:lnTo>
                    <a:pt x="5392734" y="1503363"/>
                  </a:lnTo>
                  <a:lnTo>
                    <a:pt x="5413372" y="1497013"/>
                  </a:lnTo>
                  <a:lnTo>
                    <a:pt x="5403847" y="1476376"/>
                  </a:lnTo>
                  <a:lnTo>
                    <a:pt x="5419722" y="1449388"/>
                  </a:lnTo>
                  <a:lnTo>
                    <a:pt x="5435597" y="1433513"/>
                  </a:lnTo>
                  <a:lnTo>
                    <a:pt x="5483222" y="1423988"/>
                  </a:lnTo>
                  <a:lnTo>
                    <a:pt x="5492746" y="1385888"/>
                  </a:lnTo>
                  <a:lnTo>
                    <a:pt x="5524496" y="1365250"/>
                  </a:lnTo>
                  <a:lnTo>
                    <a:pt x="5524496" y="1290638"/>
                  </a:lnTo>
                  <a:lnTo>
                    <a:pt x="5508621" y="1243013"/>
                  </a:lnTo>
                  <a:lnTo>
                    <a:pt x="5476872" y="1217613"/>
                  </a:lnTo>
                  <a:lnTo>
                    <a:pt x="5487984" y="1195388"/>
                  </a:lnTo>
                  <a:lnTo>
                    <a:pt x="5503859" y="1169988"/>
                  </a:lnTo>
                  <a:close/>
                  <a:moveTo>
                    <a:pt x="2757484" y="1106488"/>
                  </a:moveTo>
                  <a:lnTo>
                    <a:pt x="2767009" y="1127126"/>
                  </a:lnTo>
                  <a:lnTo>
                    <a:pt x="2762246" y="1174751"/>
                  </a:lnTo>
                  <a:lnTo>
                    <a:pt x="2735259" y="1201739"/>
                  </a:lnTo>
                  <a:lnTo>
                    <a:pt x="2698747" y="1206501"/>
                  </a:lnTo>
                  <a:lnTo>
                    <a:pt x="2678109" y="1195389"/>
                  </a:lnTo>
                  <a:lnTo>
                    <a:pt x="2703509" y="1158876"/>
                  </a:lnTo>
                  <a:lnTo>
                    <a:pt x="2687634" y="1138238"/>
                  </a:lnTo>
                  <a:lnTo>
                    <a:pt x="2698747" y="1127126"/>
                  </a:lnTo>
                  <a:lnTo>
                    <a:pt x="2719384" y="1138238"/>
                  </a:lnTo>
                  <a:lnTo>
                    <a:pt x="2719384" y="1116013"/>
                  </a:lnTo>
                  <a:close/>
                  <a:moveTo>
                    <a:pt x="5365746" y="825500"/>
                  </a:moveTo>
                  <a:lnTo>
                    <a:pt x="5376859" y="825500"/>
                  </a:lnTo>
                  <a:lnTo>
                    <a:pt x="5381621" y="841375"/>
                  </a:lnTo>
                  <a:lnTo>
                    <a:pt x="5403846" y="862013"/>
                  </a:lnTo>
                  <a:lnTo>
                    <a:pt x="5419721" y="900113"/>
                  </a:lnTo>
                  <a:lnTo>
                    <a:pt x="5456234" y="957263"/>
                  </a:lnTo>
                  <a:lnTo>
                    <a:pt x="5483221" y="995363"/>
                  </a:lnTo>
                  <a:lnTo>
                    <a:pt x="5456234" y="984250"/>
                  </a:lnTo>
                  <a:lnTo>
                    <a:pt x="5472109" y="1031876"/>
                  </a:lnTo>
                  <a:lnTo>
                    <a:pt x="5499096" y="1079501"/>
                  </a:lnTo>
                  <a:lnTo>
                    <a:pt x="5492746" y="1106488"/>
                  </a:lnTo>
                  <a:lnTo>
                    <a:pt x="5472109" y="1074738"/>
                  </a:lnTo>
                  <a:lnTo>
                    <a:pt x="5467346" y="1042988"/>
                  </a:lnTo>
                  <a:lnTo>
                    <a:pt x="5440359" y="1004888"/>
                  </a:lnTo>
                  <a:lnTo>
                    <a:pt x="5419721" y="973138"/>
                  </a:lnTo>
                  <a:lnTo>
                    <a:pt x="5419721" y="947738"/>
                  </a:lnTo>
                  <a:lnTo>
                    <a:pt x="5408609" y="925513"/>
                  </a:lnTo>
                  <a:lnTo>
                    <a:pt x="5381621" y="884238"/>
                  </a:lnTo>
                  <a:lnTo>
                    <a:pt x="5376859" y="857250"/>
                  </a:lnTo>
                  <a:lnTo>
                    <a:pt x="5365746" y="846138"/>
                  </a:lnTo>
                  <a:close/>
                  <a:moveTo>
                    <a:pt x="3243900" y="783040"/>
                  </a:moveTo>
                  <a:cubicBezTo>
                    <a:pt x="3243900" y="783040"/>
                    <a:pt x="3243900" y="783040"/>
                    <a:pt x="3217437" y="804204"/>
                  </a:cubicBezTo>
                  <a:cubicBezTo>
                    <a:pt x="3217437" y="804204"/>
                    <a:pt x="3217437" y="804204"/>
                    <a:pt x="3212145" y="841239"/>
                  </a:cubicBezTo>
                  <a:cubicBezTo>
                    <a:pt x="3212145" y="841239"/>
                    <a:pt x="3190975" y="867693"/>
                    <a:pt x="3190975" y="867693"/>
                  </a:cubicBezTo>
                  <a:cubicBezTo>
                    <a:pt x="3185682" y="862402"/>
                    <a:pt x="3153927" y="894147"/>
                    <a:pt x="3153927" y="894147"/>
                  </a:cubicBezTo>
                  <a:cubicBezTo>
                    <a:pt x="3153927" y="894147"/>
                    <a:pt x="3153927" y="894147"/>
                    <a:pt x="3153927" y="936473"/>
                  </a:cubicBezTo>
                  <a:cubicBezTo>
                    <a:pt x="3153927" y="936473"/>
                    <a:pt x="3153927" y="936473"/>
                    <a:pt x="3185682" y="957636"/>
                  </a:cubicBezTo>
                  <a:cubicBezTo>
                    <a:pt x="3185682" y="957636"/>
                    <a:pt x="3185682" y="957636"/>
                    <a:pt x="3190975" y="984090"/>
                  </a:cubicBezTo>
                  <a:cubicBezTo>
                    <a:pt x="3190975" y="984090"/>
                    <a:pt x="3190975" y="984090"/>
                    <a:pt x="3159220" y="1010543"/>
                  </a:cubicBezTo>
                  <a:cubicBezTo>
                    <a:pt x="3159220" y="1010543"/>
                    <a:pt x="3159220" y="1010543"/>
                    <a:pt x="3169805" y="1058160"/>
                  </a:cubicBezTo>
                  <a:cubicBezTo>
                    <a:pt x="3169805" y="1058160"/>
                    <a:pt x="3169805" y="1058160"/>
                    <a:pt x="3148635" y="1079323"/>
                  </a:cubicBezTo>
                  <a:cubicBezTo>
                    <a:pt x="3148635" y="1079323"/>
                    <a:pt x="3148635" y="1079323"/>
                    <a:pt x="3122173" y="1095196"/>
                  </a:cubicBezTo>
                  <a:cubicBezTo>
                    <a:pt x="3122173" y="1095196"/>
                    <a:pt x="3122173" y="1095196"/>
                    <a:pt x="3095710" y="1111068"/>
                  </a:cubicBezTo>
                  <a:cubicBezTo>
                    <a:pt x="3095710" y="1111068"/>
                    <a:pt x="3095710" y="1111068"/>
                    <a:pt x="3085125" y="1132231"/>
                  </a:cubicBezTo>
                  <a:cubicBezTo>
                    <a:pt x="3085125" y="1132231"/>
                    <a:pt x="3085125" y="1132231"/>
                    <a:pt x="3111587" y="1137522"/>
                  </a:cubicBezTo>
                  <a:cubicBezTo>
                    <a:pt x="3111587" y="1137522"/>
                    <a:pt x="3111587" y="1137522"/>
                    <a:pt x="3127465" y="1148103"/>
                  </a:cubicBezTo>
                  <a:cubicBezTo>
                    <a:pt x="3127465" y="1148103"/>
                    <a:pt x="3127465" y="1148103"/>
                    <a:pt x="3169805" y="1121649"/>
                  </a:cubicBezTo>
                  <a:cubicBezTo>
                    <a:pt x="3169805" y="1121649"/>
                    <a:pt x="3169805" y="1121649"/>
                    <a:pt x="3196267" y="1105777"/>
                  </a:cubicBezTo>
                  <a:cubicBezTo>
                    <a:pt x="3196267" y="1105777"/>
                    <a:pt x="3196267" y="1105777"/>
                    <a:pt x="3206852" y="1126940"/>
                  </a:cubicBezTo>
                  <a:cubicBezTo>
                    <a:pt x="3206852" y="1126940"/>
                    <a:pt x="3206852" y="1126940"/>
                    <a:pt x="3228022" y="1116359"/>
                  </a:cubicBezTo>
                  <a:cubicBezTo>
                    <a:pt x="3228022" y="1116359"/>
                    <a:pt x="3228022" y="1116359"/>
                    <a:pt x="3243900" y="1100486"/>
                  </a:cubicBezTo>
                  <a:cubicBezTo>
                    <a:pt x="3243900" y="1100486"/>
                    <a:pt x="3243900" y="1100486"/>
                    <a:pt x="3233315" y="1063451"/>
                  </a:cubicBezTo>
                  <a:cubicBezTo>
                    <a:pt x="3233315" y="1063451"/>
                    <a:pt x="3233315" y="1063451"/>
                    <a:pt x="3259777" y="1031706"/>
                  </a:cubicBezTo>
                  <a:cubicBezTo>
                    <a:pt x="3259777" y="1031706"/>
                    <a:pt x="3259777" y="1031706"/>
                    <a:pt x="3270362" y="1058160"/>
                  </a:cubicBezTo>
                  <a:cubicBezTo>
                    <a:pt x="3270362" y="1058160"/>
                    <a:pt x="3270362" y="1058160"/>
                    <a:pt x="3286240" y="1058160"/>
                  </a:cubicBezTo>
                  <a:cubicBezTo>
                    <a:pt x="3286240" y="1058160"/>
                    <a:pt x="3286240" y="1058160"/>
                    <a:pt x="3286240" y="1010543"/>
                  </a:cubicBezTo>
                  <a:cubicBezTo>
                    <a:pt x="3286240" y="1010543"/>
                    <a:pt x="3286240" y="1010543"/>
                    <a:pt x="3270362" y="1010543"/>
                  </a:cubicBezTo>
                  <a:cubicBezTo>
                    <a:pt x="3270362" y="1010543"/>
                    <a:pt x="3270362" y="1010543"/>
                    <a:pt x="3265070" y="994671"/>
                  </a:cubicBezTo>
                  <a:cubicBezTo>
                    <a:pt x="3265070" y="994671"/>
                    <a:pt x="3265070" y="994671"/>
                    <a:pt x="3286240" y="978799"/>
                  </a:cubicBezTo>
                  <a:cubicBezTo>
                    <a:pt x="3286240" y="978799"/>
                    <a:pt x="3286240" y="978799"/>
                    <a:pt x="3328580" y="978799"/>
                  </a:cubicBezTo>
                  <a:lnTo>
                    <a:pt x="3381504" y="957636"/>
                  </a:lnTo>
                  <a:cubicBezTo>
                    <a:pt x="3381504" y="957636"/>
                    <a:pt x="3381504" y="957636"/>
                    <a:pt x="3339165" y="936473"/>
                  </a:cubicBezTo>
                  <a:cubicBezTo>
                    <a:pt x="3339165" y="936473"/>
                    <a:pt x="3339165" y="936473"/>
                    <a:pt x="3307410" y="941764"/>
                  </a:cubicBezTo>
                  <a:cubicBezTo>
                    <a:pt x="3307410" y="941764"/>
                    <a:pt x="3307410" y="941764"/>
                    <a:pt x="3270362" y="962927"/>
                  </a:cubicBezTo>
                  <a:cubicBezTo>
                    <a:pt x="3270362" y="962927"/>
                    <a:pt x="3270362" y="962927"/>
                    <a:pt x="3238607" y="952345"/>
                  </a:cubicBezTo>
                  <a:cubicBezTo>
                    <a:pt x="3238607" y="952345"/>
                    <a:pt x="3238607" y="952345"/>
                    <a:pt x="3233315" y="915310"/>
                  </a:cubicBezTo>
                  <a:cubicBezTo>
                    <a:pt x="3233315" y="915310"/>
                    <a:pt x="3233315" y="915310"/>
                    <a:pt x="3222730" y="878274"/>
                  </a:cubicBezTo>
                  <a:cubicBezTo>
                    <a:pt x="3222730" y="878274"/>
                    <a:pt x="3222730" y="878274"/>
                    <a:pt x="3233315" y="862402"/>
                  </a:cubicBezTo>
                  <a:cubicBezTo>
                    <a:pt x="3233315" y="862402"/>
                    <a:pt x="3233315" y="862402"/>
                    <a:pt x="3270362" y="814785"/>
                  </a:cubicBezTo>
                  <a:cubicBezTo>
                    <a:pt x="3270362" y="814785"/>
                    <a:pt x="3270362" y="814785"/>
                    <a:pt x="3270362" y="788331"/>
                  </a:cubicBezTo>
                  <a:cubicBezTo>
                    <a:pt x="3270362" y="788331"/>
                    <a:pt x="3270362" y="788331"/>
                    <a:pt x="3265070" y="783040"/>
                  </a:cubicBezTo>
                  <a:cubicBezTo>
                    <a:pt x="3265070" y="783040"/>
                    <a:pt x="3265070" y="783040"/>
                    <a:pt x="3243900" y="783040"/>
                  </a:cubicBezTo>
                  <a:close/>
                  <a:moveTo>
                    <a:pt x="1528761" y="671513"/>
                  </a:moveTo>
                  <a:lnTo>
                    <a:pt x="1571094" y="703450"/>
                  </a:lnTo>
                  <a:cubicBezTo>
                    <a:pt x="1571094" y="703450"/>
                    <a:pt x="1571094" y="703450"/>
                    <a:pt x="1571094" y="719418"/>
                  </a:cubicBezTo>
                  <a:cubicBezTo>
                    <a:pt x="1571094" y="719418"/>
                    <a:pt x="1571094" y="719418"/>
                    <a:pt x="1592261" y="751355"/>
                  </a:cubicBezTo>
                  <a:cubicBezTo>
                    <a:pt x="1592261" y="751355"/>
                    <a:pt x="1592261" y="751355"/>
                    <a:pt x="1565803" y="756678"/>
                  </a:cubicBezTo>
                  <a:cubicBezTo>
                    <a:pt x="1565803" y="756678"/>
                    <a:pt x="1565803" y="756678"/>
                    <a:pt x="1549927" y="740710"/>
                  </a:cubicBezTo>
                  <a:cubicBezTo>
                    <a:pt x="1549927" y="740710"/>
                    <a:pt x="1549927" y="740710"/>
                    <a:pt x="1539344" y="730064"/>
                  </a:cubicBezTo>
                  <a:cubicBezTo>
                    <a:pt x="1539344" y="730064"/>
                    <a:pt x="1539344" y="730064"/>
                    <a:pt x="1518178" y="751355"/>
                  </a:cubicBezTo>
                  <a:cubicBezTo>
                    <a:pt x="1518178" y="751355"/>
                    <a:pt x="1518178" y="751355"/>
                    <a:pt x="1497011" y="762001"/>
                  </a:cubicBezTo>
                  <a:cubicBezTo>
                    <a:pt x="1497011" y="762001"/>
                    <a:pt x="1497011" y="762001"/>
                    <a:pt x="1497011" y="746032"/>
                  </a:cubicBezTo>
                  <a:cubicBezTo>
                    <a:pt x="1497011" y="746032"/>
                    <a:pt x="1497011" y="746032"/>
                    <a:pt x="1481136" y="735387"/>
                  </a:cubicBezTo>
                  <a:cubicBezTo>
                    <a:pt x="1481136" y="735387"/>
                    <a:pt x="1523469" y="676836"/>
                    <a:pt x="1528761" y="671513"/>
                  </a:cubicBezTo>
                  <a:close/>
                  <a:moveTo>
                    <a:pt x="1708147" y="614363"/>
                  </a:moveTo>
                  <a:lnTo>
                    <a:pt x="1719260" y="623888"/>
                  </a:lnTo>
                  <a:lnTo>
                    <a:pt x="1708147" y="639763"/>
                  </a:lnTo>
                  <a:lnTo>
                    <a:pt x="1692272" y="650876"/>
                  </a:lnTo>
                  <a:lnTo>
                    <a:pt x="1676398" y="646113"/>
                  </a:lnTo>
                  <a:lnTo>
                    <a:pt x="1682748" y="619125"/>
                  </a:lnTo>
                  <a:close/>
                  <a:moveTo>
                    <a:pt x="1385886" y="487363"/>
                  </a:moveTo>
                  <a:lnTo>
                    <a:pt x="1406523" y="508000"/>
                  </a:lnTo>
                  <a:lnTo>
                    <a:pt x="1406523" y="534988"/>
                  </a:lnTo>
                  <a:lnTo>
                    <a:pt x="1354137" y="508000"/>
                  </a:lnTo>
                  <a:close/>
                  <a:moveTo>
                    <a:pt x="1619249" y="385763"/>
                  </a:moveTo>
                  <a:lnTo>
                    <a:pt x="1645707" y="385763"/>
                  </a:lnTo>
                  <a:cubicBezTo>
                    <a:pt x="1645707" y="385763"/>
                    <a:pt x="1645707" y="385763"/>
                    <a:pt x="1608666" y="412221"/>
                  </a:cubicBezTo>
                  <a:cubicBezTo>
                    <a:pt x="1608666" y="412221"/>
                    <a:pt x="1608666" y="412221"/>
                    <a:pt x="1598083" y="459846"/>
                  </a:cubicBezTo>
                  <a:cubicBezTo>
                    <a:pt x="1598083" y="459846"/>
                    <a:pt x="1598083" y="459846"/>
                    <a:pt x="1619249" y="470430"/>
                  </a:cubicBezTo>
                  <a:cubicBezTo>
                    <a:pt x="1619249" y="470430"/>
                    <a:pt x="1619249" y="470430"/>
                    <a:pt x="1629832" y="417513"/>
                  </a:cubicBezTo>
                  <a:cubicBezTo>
                    <a:pt x="1629832" y="417513"/>
                    <a:pt x="1629832" y="417513"/>
                    <a:pt x="1677457" y="401638"/>
                  </a:cubicBezTo>
                  <a:cubicBezTo>
                    <a:pt x="1677457" y="401638"/>
                    <a:pt x="1677457" y="401638"/>
                    <a:pt x="1693332" y="417513"/>
                  </a:cubicBezTo>
                  <a:cubicBezTo>
                    <a:pt x="1693332" y="417513"/>
                    <a:pt x="1693332" y="417513"/>
                    <a:pt x="1735665" y="422805"/>
                  </a:cubicBezTo>
                  <a:cubicBezTo>
                    <a:pt x="1735665" y="422805"/>
                    <a:pt x="1735665" y="422805"/>
                    <a:pt x="1751541" y="470430"/>
                  </a:cubicBezTo>
                  <a:cubicBezTo>
                    <a:pt x="1751541" y="470430"/>
                    <a:pt x="1751541" y="470430"/>
                    <a:pt x="1783291" y="518055"/>
                  </a:cubicBezTo>
                  <a:cubicBezTo>
                    <a:pt x="1783291" y="518055"/>
                    <a:pt x="1783291" y="518055"/>
                    <a:pt x="1846791" y="576263"/>
                  </a:cubicBezTo>
                  <a:cubicBezTo>
                    <a:pt x="1846791" y="576263"/>
                    <a:pt x="1846791" y="576263"/>
                    <a:pt x="1841499" y="618596"/>
                  </a:cubicBezTo>
                  <a:cubicBezTo>
                    <a:pt x="1841499" y="618596"/>
                    <a:pt x="1841499" y="618596"/>
                    <a:pt x="1852083" y="634471"/>
                  </a:cubicBezTo>
                  <a:cubicBezTo>
                    <a:pt x="1852083" y="634471"/>
                    <a:pt x="1852083" y="634471"/>
                    <a:pt x="1889121" y="682096"/>
                  </a:cubicBezTo>
                  <a:cubicBezTo>
                    <a:pt x="1889121" y="682096"/>
                    <a:pt x="1889121" y="682096"/>
                    <a:pt x="1920871" y="687388"/>
                  </a:cubicBezTo>
                  <a:cubicBezTo>
                    <a:pt x="1920871" y="687388"/>
                    <a:pt x="1920871" y="687388"/>
                    <a:pt x="1894413" y="729721"/>
                  </a:cubicBezTo>
                  <a:cubicBezTo>
                    <a:pt x="1894413" y="729721"/>
                    <a:pt x="1894413" y="729721"/>
                    <a:pt x="1862666" y="756180"/>
                  </a:cubicBezTo>
                  <a:cubicBezTo>
                    <a:pt x="1862666" y="756180"/>
                    <a:pt x="1862666" y="756180"/>
                    <a:pt x="1852083" y="729721"/>
                  </a:cubicBezTo>
                  <a:cubicBezTo>
                    <a:pt x="1852083" y="729721"/>
                    <a:pt x="1852083" y="729721"/>
                    <a:pt x="1825624" y="697971"/>
                  </a:cubicBezTo>
                  <a:cubicBezTo>
                    <a:pt x="1825624" y="697971"/>
                    <a:pt x="1825624" y="697971"/>
                    <a:pt x="1804457" y="724430"/>
                  </a:cubicBezTo>
                  <a:cubicBezTo>
                    <a:pt x="1804457" y="724430"/>
                    <a:pt x="1804457" y="724430"/>
                    <a:pt x="1841499" y="772055"/>
                  </a:cubicBezTo>
                  <a:cubicBezTo>
                    <a:pt x="1841499" y="772055"/>
                    <a:pt x="1841499" y="772055"/>
                    <a:pt x="1841499" y="803805"/>
                  </a:cubicBezTo>
                  <a:cubicBezTo>
                    <a:pt x="1841499" y="803805"/>
                    <a:pt x="1841499" y="803805"/>
                    <a:pt x="1815041" y="824971"/>
                  </a:cubicBezTo>
                  <a:cubicBezTo>
                    <a:pt x="1815041" y="824971"/>
                    <a:pt x="1815041" y="824971"/>
                    <a:pt x="1793874" y="793221"/>
                  </a:cubicBezTo>
                  <a:cubicBezTo>
                    <a:pt x="1793874" y="793221"/>
                    <a:pt x="1793874" y="793221"/>
                    <a:pt x="1772708" y="787930"/>
                  </a:cubicBezTo>
                  <a:cubicBezTo>
                    <a:pt x="1772708" y="787930"/>
                    <a:pt x="1772708" y="787930"/>
                    <a:pt x="1804457" y="846138"/>
                  </a:cubicBezTo>
                  <a:cubicBezTo>
                    <a:pt x="1804457" y="846138"/>
                    <a:pt x="1804457" y="846138"/>
                    <a:pt x="1788583" y="846138"/>
                  </a:cubicBezTo>
                  <a:cubicBezTo>
                    <a:pt x="1788583" y="846138"/>
                    <a:pt x="1788583" y="846138"/>
                    <a:pt x="1730374" y="809096"/>
                  </a:cubicBezTo>
                  <a:cubicBezTo>
                    <a:pt x="1730374" y="809096"/>
                    <a:pt x="1730374" y="809096"/>
                    <a:pt x="1703916" y="761471"/>
                  </a:cubicBezTo>
                  <a:cubicBezTo>
                    <a:pt x="1703916" y="761471"/>
                    <a:pt x="1703916" y="761471"/>
                    <a:pt x="1682749" y="735013"/>
                  </a:cubicBezTo>
                  <a:cubicBezTo>
                    <a:pt x="1682749" y="735013"/>
                    <a:pt x="1682749" y="735013"/>
                    <a:pt x="1640416" y="756180"/>
                  </a:cubicBezTo>
                  <a:cubicBezTo>
                    <a:pt x="1640416" y="756180"/>
                    <a:pt x="1640416" y="756180"/>
                    <a:pt x="1629832" y="729721"/>
                  </a:cubicBezTo>
                  <a:cubicBezTo>
                    <a:pt x="1629832" y="729721"/>
                    <a:pt x="1629832" y="729721"/>
                    <a:pt x="1656291" y="713846"/>
                  </a:cubicBezTo>
                  <a:cubicBezTo>
                    <a:pt x="1656291" y="713846"/>
                    <a:pt x="1656291" y="713846"/>
                    <a:pt x="1698624" y="713846"/>
                  </a:cubicBezTo>
                  <a:cubicBezTo>
                    <a:pt x="1698624" y="713846"/>
                    <a:pt x="1698624" y="713846"/>
                    <a:pt x="1709208" y="687388"/>
                  </a:cubicBezTo>
                  <a:cubicBezTo>
                    <a:pt x="1709208" y="687388"/>
                    <a:pt x="1709208" y="687388"/>
                    <a:pt x="1751541" y="660930"/>
                  </a:cubicBezTo>
                  <a:cubicBezTo>
                    <a:pt x="1751541" y="660930"/>
                    <a:pt x="1751541" y="660930"/>
                    <a:pt x="1751541" y="629180"/>
                  </a:cubicBezTo>
                  <a:cubicBezTo>
                    <a:pt x="1751541" y="629180"/>
                    <a:pt x="1751541" y="629180"/>
                    <a:pt x="1714499" y="570971"/>
                  </a:cubicBezTo>
                  <a:cubicBezTo>
                    <a:pt x="1714499" y="570971"/>
                    <a:pt x="1693332" y="528638"/>
                    <a:pt x="1693332" y="533930"/>
                  </a:cubicBezTo>
                  <a:cubicBezTo>
                    <a:pt x="1688041" y="533930"/>
                    <a:pt x="1645707" y="539221"/>
                    <a:pt x="1645707" y="539221"/>
                  </a:cubicBezTo>
                  <a:cubicBezTo>
                    <a:pt x="1645707" y="539221"/>
                    <a:pt x="1645707" y="539221"/>
                    <a:pt x="1576916" y="507471"/>
                  </a:cubicBezTo>
                  <a:cubicBezTo>
                    <a:pt x="1576916" y="507471"/>
                    <a:pt x="1576916" y="507471"/>
                    <a:pt x="1539874" y="496888"/>
                  </a:cubicBezTo>
                  <a:cubicBezTo>
                    <a:pt x="1539874" y="496888"/>
                    <a:pt x="1539874" y="496888"/>
                    <a:pt x="1539874" y="465138"/>
                  </a:cubicBezTo>
                  <a:cubicBezTo>
                    <a:pt x="1539874" y="465138"/>
                    <a:pt x="1539874" y="465138"/>
                    <a:pt x="1555749" y="412221"/>
                  </a:cubicBezTo>
                  <a:cubicBezTo>
                    <a:pt x="1555749" y="412221"/>
                    <a:pt x="1555749" y="412221"/>
                    <a:pt x="1619249" y="385763"/>
                  </a:cubicBezTo>
                  <a:close/>
                  <a:moveTo>
                    <a:pt x="1517649" y="349250"/>
                  </a:moveTo>
                  <a:lnTo>
                    <a:pt x="1571623" y="365125"/>
                  </a:lnTo>
                  <a:lnTo>
                    <a:pt x="1539874" y="396875"/>
                  </a:lnTo>
                  <a:lnTo>
                    <a:pt x="1501774" y="407988"/>
                  </a:lnTo>
                  <a:lnTo>
                    <a:pt x="1481136" y="407988"/>
                  </a:lnTo>
                  <a:lnTo>
                    <a:pt x="1470024" y="385763"/>
                  </a:lnTo>
                  <a:lnTo>
                    <a:pt x="1476374" y="365125"/>
                  </a:lnTo>
                  <a:close/>
                  <a:moveTo>
                    <a:pt x="1412345" y="328613"/>
                  </a:moveTo>
                  <a:lnTo>
                    <a:pt x="1459970" y="328613"/>
                  </a:lnTo>
                  <a:cubicBezTo>
                    <a:pt x="1459970" y="328613"/>
                    <a:pt x="1459970" y="328613"/>
                    <a:pt x="1465262" y="354807"/>
                  </a:cubicBezTo>
                  <a:cubicBezTo>
                    <a:pt x="1465262" y="354807"/>
                    <a:pt x="1465262" y="354807"/>
                    <a:pt x="1438803" y="360045"/>
                  </a:cubicBezTo>
                  <a:cubicBezTo>
                    <a:pt x="1438803" y="360045"/>
                    <a:pt x="1444095" y="396717"/>
                    <a:pt x="1444095" y="401955"/>
                  </a:cubicBezTo>
                  <a:cubicBezTo>
                    <a:pt x="1444095" y="401955"/>
                    <a:pt x="1428220" y="412433"/>
                    <a:pt x="1428220" y="412433"/>
                  </a:cubicBezTo>
                  <a:cubicBezTo>
                    <a:pt x="1428220" y="412433"/>
                    <a:pt x="1396470" y="422910"/>
                    <a:pt x="1396470" y="428149"/>
                  </a:cubicBezTo>
                  <a:cubicBezTo>
                    <a:pt x="1396470" y="433388"/>
                    <a:pt x="1391178" y="401955"/>
                    <a:pt x="1391178" y="401955"/>
                  </a:cubicBezTo>
                  <a:cubicBezTo>
                    <a:pt x="1391178" y="401955"/>
                    <a:pt x="1391178" y="401955"/>
                    <a:pt x="1370012" y="381000"/>
                  </a:cubicBezTo>
                  <a:cubicBezTo>
                    <a:pt x="1370012" y="381000"/>
                    <a:pt x="1370012" y="381000"/>
                    <a:pt x="1375303" y="354807"/>
                  </a:cubicBezTo>
                  <a:cubicBezTo>
                    <a:pt x="1375303" y="354807"/>
                    <a:pt x="1375303" y="354807"/>
                    <a:pt x="1396470" y="354807"/>
                  </a:cubicBezTo>
                  <a:cubicBezTo>
                    <a:pt x="1396470" y="354807"/>
                    <a:pt x="1396470" y="354807"/>
                    <a:pt x="1412345" y="328613"/>
                  </a:cubicBezTo>
                  <a:close/>
                  <a:moveTo>
                    <a:pt x="1343023" y="301625"/>
                  </a:moveTo>
                  <a:lnTo>
                    <a:pt x="1358898" y="312738"/>
                  </a:lnTo>
                  <a:lnTo>
                    <a:pt x="1338260" y="333375"/>
                  </a:lnTo>
                  <a:lnTo>
                    <a:pt x="1317623" y="306388"/>
                  </a:lnTo>
                  <a:close/>
                  <a:moveTo>
                    <a:pt x="1512885" y="285750"/>
                  </a:moveTo>
                  <a:lnTo>
                    <a:pt x="1533523" y="301625"/>
                  </a:lnTo>
                  <a:cubicBezTo>
                    <a:pt x="1533523" y="301625"/>
                    <a:pt x="1528364" y="322792"/>
                    <a:pt x="1528364" y="328083"/>
                  </a:cubicBezTo>
                  <a:cubicBezTo>
                    <a:pt x="1528364" y="333375"/>
                    <a:pt x="1502567" y="317500"/>
                    <a:pt x="1502567" y="317500"/>
                  </a:cubicBezTo>
                  <a:cubicBezTo>
                    <a:pt x="1502567" y="317500"/>
                    <a:pt x="1502567" y="317500"/>
                    <a:pt x="1492248" y="301625"/>
                  </a:cubicBezTo>
                  <a:cubicBezTo>
                    <a:pt x="1492248" y="301625"/>
                    <a:pt x="1492248" y="301625"/>
                    <a:pt x="1512885" y="285750"/>
                  </a:cubicBezTo>
                  <a:close/>
                  <a:moveTo>
                    <a:pt x="1476373" y="227013"/>
                  </a:moveTo>
                  <a:lnTo>
                    <a:pt x="1492248" y="238126"/>
                  </a:lnTo>
                  <a:lnTo>
                    <a:pt x="1497011" y="258763"/>
                  </a:lnTo>
                  <a:lnTo>
                    <a:pt x="1485898" y="285751"/>
                  </a:lnTo>
                  <a:lnTo>
                    <a:pt x="1470023" y="301626"/>
                  </a:lnTo>
                  <a:lnTo>
                    <a:pt x="1438273" y="290514"/>
                  </a:lnTo>
                  <a:lnTo>
                    <a:pt x="1449386" y="265113"/>
                  </a:lnTo>
                  <a:lnTo>
                    <a:pt x="1449386" y="238126"/>
                  </a:lnTo>
                  <a:close/>
                  <a:moveTo>
                    <a:pt x="1068915" y="201613"/>
                  </a:moveTo>
                  <a:lnTo>
                    <a:pt x="1116540" y="201613"/>
                  </a:lnTo>
                  <a:cubicBezTo>
                    <a:pt x="1116540" y="201613"/>
                    <a:pt x="1116540" y="201613"/>
                    <a:pt x="1132415" y="233250"/>
                  </a:cubicBezTo>
                  <a:cubicBezTo>
                    <a:pt x="1132415" y="233250"/>
                    <a:pt x="1132415" y="233250"/>
                    <a:pt x="1158874" y="227977"/>
                  </a:cubicBezTo>
                  <a:cubicBezTo>
                    <a:pt x="1158874" y="227977"/>
                    <a:pt x="1158874" y="227977"/>
                    <a:pt x="1190624" y="259614"/>
                  </a:cubicBezTo>
                  <a:cubicBezTo>
                    <a:pt x="1190624" y="259614"/>
                    <a:pt x="1190624" y="259614"/>
                    <a:pt x="1201207" y="285978"/>
                  </a:cubicBezTo>
                  <a:cubicBezTo>
                    <a:pt x="1201207" y="285978"/>
                    <a:pt x="1201207" y="285978"/>
                    <a:pt x="1201207" y="307068"/>
                  </a:cubicBezTo>
                  <a:cubicBezTo>
                    <a:pt x="1201207" y="307068"/>
                    <a:pt x="1201207" y="307068"/>
                    <a:pt x="1238249" y="312341"/>
                  </a:cubicBezTo>
                  <a:cubicBezTo>
                    <a:pt x="1238249" y="312341"/>
                    <a:pt x="1238249" y="312341"/>
                    <a:pt x="1259415" y="317614"/>
                  </a:cubicBezTo>
                  <a:cubicBezTo>
                    <a:pt x="1259415" y="317614"/>
                    <a:pt x="1259415" y="317614"/>
                    <a:pt x="1264707" y="354523"/>
                  </a:cubicBezTo>
                  <a:cubicBezTo>
                    <a:pt x="1264707" y="354523"/>
                    <a:pt x="1264707" y="354523"/>
                    <a:pt x="1280582" y="365069"/>
                  </a:cubicBezTo>
                  <a:cubicBezTo>
                    <a:pt x="1280582" y="365069"/>
                    <a:pt x="1280582" y="365069"/>
                    <a:pt x="1280582" y="338705"/>
                  </a:cubicBezTo>
                  <a:cubicBezTo>
                    <a:pt x="1280582" y="338705"/>
                    <a:pt x="1280582" y="338705"/>
                    <a:pt x="1296457" y="317614"/>
                  </a:cubicBezTo>
                  <a:cubicBezTo>
                    <a:pt x="1296457" y="317614"/>
                    <a:pt x="1296457" y="317614"/>
                    <a:pt x="1322916" y="343978"/>
                  </a:cubicBezTo>
                  <a:cubicBezTo>
                    <a:pt x="1322916" y="343978"/>
                    <a:pt x="1322916" y="343978"/>
                    <a:pt x="1322916" y="407251"/>
                  </a:cubicBezTo>
                  <a:cubicBezTo>
                    <a:pt x="1322916" y="407251"/>
                    <a:pt x="1312332" y="412524"/>
                    <a:pt x="1307040" y="412524"/>
                  </a:cubicBezTo>
                  <a:cubicBezTo>
                    <a:pt x="1301749" y="412524"/>
                    <a:pt x="1317624" y="428342"/>
                    <a:pt x="1317624" y="428342"/>
                  </a:cubicBezTo>
                  <a:cubicBezTo>
                    <a:pt x="1317624" y="428342"/>
                    <a:pt x="1317624" y="428342"/>
                    <a:pt x="1349374" y="454706"/>
                  </a:cubicBezTo>
                  <a:cubicBezTo>
                    <a:pt x="1349374" y="454706"/>
                    <a:pt x="1349374" y="454706"/>
                    <a:pt x="1333499" y="475797"/>
                  </a:cubicBezTo>
                  <a:cubicBezTo>
                    <a:pt x="1333499" y="475797"/>
                    <a:pt x="1333499" y="475797"/>
                    <a:pt x="1312332" y="496888"/>
                  </a:cubicBezTo>
                  <a:cubicBezTo>
                    <a:pt x="1312332" y="496888"/>
                    <a:pt x="1312332" y="496888"/>
                    <a:pt x="1275291" y="496888"/>
                  </a:cubicBezTo>
                  <a:cubicBezTo>
                    <a:pt x="1275291" y="496888"/>
                    <a:pt x="1275291" y="496888"/>
                    <a:pt x="1254124" y="470524"/>
                  </a:cubicBezTo>
                  <a:cubicBezTo>
                    <a:pt x="1254124" y="470524"/>
                    <a:pt x="1254124" y="470524"/>
                    <a:pt x="1227665" y="481070"/>
                  </a:cubicBezTo>
                  <a:cubicBezTo>
                    <a:pt x="1227665" y="481070"/>
                    <a:pt x="1227665" y="481070"/>
                    <a:pt x="1174748" y="481070"/>
                  </a:cubicBezTo>
                  <a:cubicBezTo>
                    <a:pt x="1174748" y="481070"/>
                    <a:pt x="1174748" y="481070"/>
                    <a:pt x="1137707" y="475797"/>
                  </a:cubicBezTo>
                  <a:cubicBezTo>
                    <a:pt x="1137707" y="475797"/>
                    <a:pt x="1137707" y="475797"/>
                    <a:pt x="1127123" y="459978"/>
                  </a:cubicBezTo>
                  <a:cubicBezTo>
                    <a:pt x="1127123" y="459978"/>
                    <a:pt x="1127123" y="459978"/>
                    <a:pt x="1132415" y="444160"/>
                  </a:cubicBezTo>
                  <a:cubicBezTo>
                    <a:pt x="1132415" y="444160"/>
                    <a:pt x="1132415" y="444160"/>
                    <a:pt x="1116540" y="428342"/>
                  </a:cubicBezTo>
                  <a:cubicBezTo>
                    <a:pt x="1116540" y="428342"/>
                    <a:pt x="1116540" y="428342"/>
                    <a:pt x="1095373" y="417796"/>
                  </a:cubicBezTo>
                  <a:cubicBezTo>
                    <a:pt x="1095373" y="417796"/>
                    <a:pt x="1095373" y="417796"/>
                    <a:pt x="1095373" y="396705"/>
                  </a:cubicBezTo>
                  <a:cubicBezTo>
                    <a:pt x="1095373" y="396705"/>
                    <a:pt x="1095373" y="396705"/>
                    <a:pt x="1127123" y="386160"/>
                  </a:cubicBezTo>
                  <a:cubicBezTo>
                    <a:pt x="1127123" y="386160"/>
                    <a:pt x="1127123" y="386160"/>
                    <a:pt x="1164165" y="407251"/>
                  </a:cubicBezTo>
                  <a:cubicBezTo>
                    <a:pt x="1164165" y="407251"/>
                    <a:pt x="1164165" y="407251"/>
                    <a:pt x="1174748" y="396705"/>
                  </a:cubicBezTo>
                  <a:cubicBezTo>
                    <a:pt x="1174748" y="396705"/>
                    <a:pt x="1174748" y="396705"/>
                    <a:pt x="1105957" y="370341"/>
                  </a:cubicBezTo>
                  <a:cubicBezTo>
                    <a:pt x="1105957" y="370341"/>
                    <a:pt x="1105957" y="370341"/>
                    <a:pt x="1100665" y="359796"/>
                  </a:cubicBezTo>
                  <a:cubicBezTo>
                    <a:pt x="1100665" y="359796"/>
                    <a:pt x="1100665" y="359796"/>
                    <a:pt x="1132415" y="349250"/>
                  </a:cubicBezTo>
                  <a:cubicBezTo>
                    <a:pt x="1132415" y="349250"/>
                    <a:pt x="1132415" y="349250"/>
                    <a:pt x="1100665" y="333432"/>
                  </a:cubicBezTo>
                  <a:cubicBezTo>
                    <a:pt x="1100665" y="333432"/>
                    <a:pt x="1100665" y="333432"/>
                    <a:pt x="1121832" y="317614"/>
                  </a:cubicBezTo>
                  <a:cubicBezTo>
                    <a:pt x="1121832" y="317614"/>
                    <a:pt x="1121832" y="317614"/>
                    <a:pt x="1132415" y="296523"/>
                  </a:cubicBezTo>
                  <a:cubicBezTo>
                    <a:pt x="1132415" y="296523"/>
                    <a:pt x="1132415" y="296523"/>
                    <a:pt x="1058332" y="333432"/>
                  </a:cubicBezTo>
                  <a:cubicBezTo>
                    <a:pt x="1058332" y="333432"/>
                    <a:pt x="1058332" y="333432"/>
                    <a:pt x="1026582" y="333432"/>
                  </a:cubicBezTo>
                  <a:cubicBezTo>
                    <a:pt x="1026582" y="333432"/>
                    <a:pt x="1026582" y="333432"/>
                    <a:pt x="1015999" y="285978"/>
                  </a:cubicBezTo>
                  <a:cubicBezTo>
                    <a:pt x="1015999" y="285978"/>
                    <a:pt x="1015999" y="285978"/>
                    <a:pt x="1042457" y="254341"/>
                  </a:cubicBezTo>
                  <a:cubicBezTo>
                    <a:pt x="1042457" y="254341"/>
                    <a:pt x="1042457" y="254341"/>
                    <a:pt x="1074207" y="249068"/>
                  </a:cubicBezTo>
                  <a:cubicBezTo>
                    <a:pt x="1074207" y="249068"/>
                    <a:pt x="1074207" y="249068"/>
                    <a:pt x="1068915" y="201613"/>
                  </a:cubicBezTo>
                  <a:close/>
                  <a:moveTo>
                    <a:pt x="2408234" y="147638"/>
                  </a:moveTo>
                  <a:lnTo>
                    <a:pt x="2428871" y="158751"/>
                  </a:lnTo>
                  <a:lnTo>
                    <a:pt x="2528884" y="169863"/>
                  </a:lnTo>
                  <a:lnTo>
                    <a:pt x="2555872" y="179388"/>
                  </a:lnTo>
                  <a:lnTo>
                    <a:pt x="2551109" y="201613"/>
                  </a:lnTo>
                  <a:lnTo>
                    <a:pt x="2571747" y="211138"/>
                  </a:lnTo>
                  <a:lnTo>
                    <a:pt x="2508247" y="217488"/>
                  </a:lnTo>
                  <a:lnTo>
                    <a:pt x="2455859" y="206375"/>
                  </a:lnTo>
                  <a:lnTo>
                    <a:pt x="2460622" y="227013"/>
                  </a:lnTo>
                  <a:lnTo>
                    <a:pt x="2433634" y="242888"/>
                  </a:lnTo>
                  <a:lnTo>
                    <a:pt x="2439984" y="254000"/>
                  </a:lnTo>
                  <a:lnTo>
                    <a:pt x="2449509" y="242888"/>
                  </a:lnTo>
                  <a:lnTo>
                    <a:pt x="2492372" y="238126"/>
                  </a:lnTo>
                  <a:lnTo>
                    <a:pt x="2535234" y="227013"/>
                  </a:lnTo>
                  <a:lnTo>
                    <a:pt x="2528884" y="242888"/>
                  </a:lnTo>
                  <a:lnTo>
                    <a:pt x="2508247" y="254000"/>
                  </a:lnTo>
                  <a:lnTo>
                    <a:pt x="2513009" y="265113"/>
                  </a:lnTo>
                  <a:lnTo>
                    <a:pt x="2528884" y="254000"/>
                  </a:lnTo>
                  <a:lnTo>
                    <a:pt x="2560634" y="249238"/>
                  </a:lnTo>
                  <a:lnTo>
                    <a:pt x="2566984" y="227013"/>
                  </a:lnTo>
                  <a:lnTo>
                    <a:pt x="2576509" y="222251"/>
                  </a:lnTo>
                  <a:lnTo>
                    <a:pt x="2598734" y="242888"/>
                  </a:lnTo>
                  <a:lnTo>
                    <a:pt x="2571747" y="258763"/>
                  </a:lnTo>
                  <a:lnTo>
                    <a:pt x="2555872" y="296863"/>
                  </a:lnTo>
                  <a:lnTo>
                    <a:pt x="2587622" y="274638"/>
                  </a:lnTo>
                  <a:lnTo>
                    <a:pt x="2608260" y="249238"/>
                  </a:lnTo>
                  <a:lnTo>
                    <a:pt x="2646359" y="265113"/>
                  </a:lnTo>
                  <a:lnTo>
                    <a:pt x="2655884" y="249238"/>
                  </a:lnTo>
                  <a:lnTo>
                    <a:pt x="2703509" y="249238"/>
                  </a:lnTo>
                  <a:lnTo>
                    <a:pt x="2719384" y="265113"/>
                  </a:lnTo>
                  <a:lnTo>
                    <a:pt x="2693984" y="269875"/>
                  </a:lnTo>
                  <a:lnTo>
                    <a:pt x="2671759" y="285751"/>
                  </a:lnTo>
                  <a:lnTo>
                    <a:pt x="2635247" y="301625"/>
                  </a:lnTo>
                  <a:lnTo>
                    <a:pt x="2646359" y="328613"/>
                  </a:lnTo>
                  <a:lnTo>
                    <a:pt x="2624134" y="328613"/>
                  </a:lnTo>
                  <a:lnTo>
                    <a:pt x="2603497" y="349250"/>
                  </a:lnTo>
                  <a:lnTo>
                    <a:pt x="2603497" y="376238"/>
                  </a:lnTo>
                  <a:lnTo>
                    <a:pt x="2619372" y="385763"/>
                  </a:lnTo>
                  <a:lnTo>
                    <a:pt x="2619372" y="401638"/>
                  </a:lnTo>
                  <a:lnTo>
                    <a:pt x="2603497" y="396875"/>
                  </a:lnTo>
                  <a:lnTo>
                    <a:pt x="2598734" y="407988"/>
                  </a:lnTo>
                  <a:lnTo>
                    <a:pt x="2614609" y="417513"/>
                  </a:lnTo>
                  <a:lnTo>
                    <a:pt x="2624134" y="417513"/>
                  </a:lnTo>
                  <a:lnTo>
                    <a:pt x="2635247" y="412750"/>
                  </a:lnTo>
                  <a:lnTo>
                    <a:pt x="2635247" y="439738"/>
                  </a:lnTo>
                  <a:lnTo>
                    <a:pt x="2592384" y="423863"/>
                  </a:lnTo>
                  <a:lnTo>
                    <a:pt x="2576509" y="433388"/>
                  </a:lnTo>
                  <a:lnTo>
                    <a:pt x="2603497" y="460375"/>
                  </a:lnTo>
                  <a:lnTo>
                    <a:pt x="2608260" y="476250"/>
                  </a:lnTo>
                  <a:lnTo>
                    <a:pt x="2587622" y="503238"/>
                  </a:lnTo>
                  <a:lnTo>
                    <a:pt x="2566984" y="519113"/>
                  </a:lnTo>
                  <a:lnTo>
                    <a:pt x="2598734" y="534988"/>
                  </a:lnTo>
                  <a:lnTo>
                    <a:pt x="2587622" y="550863"/>
                  </a:lnTo>
                  <a:lnTo>
                    <a:pt x="2551109" y="544513"/>
                  </a:lnTo>
                  <a:lnTo>
                    <a:pt x="2519359" y="528638"/>
                  </a:lnTo>
                  <a:lnTo>
                    <a:pt x="2519359" y="555625"/>
                  </a:lnTo>
                  <a:lnTo>
                    <a:pt x="2487609" y="544513"/>
                  </a:lnTo>
                  <a:lnTo>
                    <a:pt x="2513009" y="582613"/>
                  </a:lnTo>
                  <a:lnTo>
                    <a:pt x="2551109" y="598488"/>
                  </a:lnTo>
                  <a:lnTo>
                    <a:pt x="2560634" y="623888"/>
                  </a:lnTo>
                  <a:lnTo>
                    <a:pt x="2560634" y="650875"/>
                  </a:lnTo>
                  <a:lnTo>
                    <a:pt x="2524121" y="639763"/>
                  </a:lnTo>
                  <a:lnTo>
                    <a:pt x="2513009" y="619125"/>
                  </a:lnTo>
                  <a:lnTo>
                    <a:pt x="2476497" y="630238"/>
                  </a:lnTo>
                  <a:lnTo>
                    <a:pt x="2460622" y="646113"/>
                  </a:lnTo>
                  <a:lnTo>
                    <a:pt x="2497134" y="655638"/>
                  </a:lnTo>
                  <a:lnTo>
                    <a:pt x="2535234" y="666750"/>
                  </a:lnTo>
                  <a:lnTo>
                    <a:pt x="2487609" y="703263"/>
                  </a:lnTo>
                  <a:lnTo>
                    <a:pt x="2433634" y="719138"/>
                  </a:lnTo>
                  <a:lnTo>
                    <a:pt x="2392359" y="719138"/>
                  </a:lnTo>
                  <a:lnTo>
                    <a:pt x="2370134" y="741363"/>
                  </a:lnTo>
                  <a:lnTo>
                    <a:pt x="2333622" y="777875"/>
                  </a:lnTo>
                  <a:lnTo>
                    <a:pt x="2290759" y="788988"/>
                  </a:lnTo>
                  <a:lnTo>
                    <a:pt x="2249485" y="798513"/>
                  </a:lnTo>
                  <a:lnTo>
                    <a:pt x="2233609" y="830263"/>
                  </a:lnTo>
                  <a:lnTo>
                    <a:pt x="2201859" y="889001"/>
                  </a:lnTo>
                  <a:lnTo>
                    <a:pt x="2163759" y="941388"/>
                  </a:lnTo>
                  <a:lnTo>
                    <a:pt x="2163759" y="957263"/>
                  </a:lnTo>
                  <a:lnTo>
                    <a:pt x="2138359" y="947738"/>
                  </a:lnTo>
                  <a:lnTo>
                    <a:pt x="2122485" y="925513"/>
                  </a:lnTo>
                  <a:lnTo>
                    <a:pt x="2095497" y="925513"/>
                  </a:lnTo>
                  <a:lnTo>
                    <a:pt x="2063747" y="884238"/>
                  </a:lnTo>
                  <a:lnTo>
                    <a:pt x="2052634" y="841376"/>
                  </a:lnTo>
                  <a:lnTo>
                    <a:pt x="2047872" y="782638"/>
                  </a:lnTo>
                  <a:lnTo>
                    <a:pt x="2047872" y="735013"/>
                  </a:lnTo>
                  <a:lnTo>
                    <a:pt x="2063747" y="687388"/>
                  </a:lnTo>
                  <a:lnTo>
                    <a:pt x="2090734" y="655638"/>
                  </a:lnTo>
                  <a:lnTo>
                    <a:pt x="2111372" y="630238"/>
                  </a:lnTo>
                  <a:lnTo>
                    <a:pt x="2100259" y="592138"/>
                  </a:lnTo>
                  <a:lnTo>
                    <a:pt x="2095497" y="566738"/>
                  </a:lnTo>
                  <a:lnTo>
                    <a:pt x="2079622" y="544513"/>
                  </a:lnTo>
                  <a:lnTo>
                    <a:pt x="2068509" y="566738"/>
                  </a:lnTo>
                  <a:lnTo>
                    <a:pt x="2052634" y="566738"/>
                  </a:lnTo>
                  <a:lnTo>
                    <a:pt x="2058984" y="539750"/>
                  </a:lnTo>
                  <a:lnTo>
                    <a:pt x="2068509" y="523875"/>
                  </a:lnTo>
                  <a:lnTo>
                    <a:pt x="2068509" y="496888"/>
                  </a:lnTo>
                  <a:lnTo>
                    <a:pt x="2058984" y="455613"/>
                  </a:lnTo>
                  <a:lnTo>
                    <a:pt x="2043109" y="444500"/>
                  </a:lnTo>
                  <a:lnTo>
                    <a:pt x="2036759" y="401638"/>
                  </a:lnTo>
                  <a:lnTo>
                    <a:pt x="2005009" y="381000"/>
                  </a:lnTo>
                  <a:lnTo>
                    <a:pt x="1979609" y="365125"/>
                  </a:lnTo>
                  <a:lnTo>
                    <a:pt x="1952622" y="376238"/>
                  </a:lnTo>
                  <a:lnTo>
                    <a:pt x="1925634" y="376238"/>
                  </a:lnTo>
                  <a:lnTo>
                    <a:pt x="1916109" y="354013"/>
                  </a:lnTo>
                  <a:lnTo>
                    <a:pt x="1900234" y="349250"/>
                  </a:lnTo>
                  <a:lnTo>
                    <a:pt x="1904997" y="333376"/>
                  </a:lnTo>
                  <a:lnTo>
                    <a:pt x="1936747" y="333376"/>
                  </a:lnTo>
                  <a:lnTo>
                    <a:pt x="1941509" y="328613"/>
                  </a:lnTo>
                  <a:lnTo>
                    <a:pt x="1920872" y="328613"/>
                  </a:lnTo>
                  <a:lnTo>
                    <a:pt x="1900234" y="317501"/>
                  </a:lnTo>
                  <a:lnTo>
                    <a:pt x="1884361" y="301625"/>
                  </a:lnTo>
                  <a:lnTo>
                    <a:pt x="1916109" y="306388"/>
                  </a:lnTo>
                  <a:lnTo>
                    <a:pt x="1936747" y="301625"/>
                  </a:lnTo>
                  <a:lnTo>
                    <a:pt x="1968497" y="301625"/>
                  </a:lnTo>
                  <a:lnTo>
                    <a:pt x="1952622" y="290513"/>
                  </a:lnTo>
                  <a:lnTo>
                    <a:pt x="1920872" y="290513"/>
                  </a:lnTo>
                  <a:lnTo>
                    <a:pt x="1900234" y="274638"/>
                  </a:lnTo>
                  <a:lnTo>
                    <a:pt x="1889122" y="254000"/>
                  </a:lnTo>
                  <a:lnTo>
                    <a:pt x="1920872" y="249238"/>
                  </a:lnTo>
                  <a:lnTo>
                    <a:pt x="1973259" y="242888"/>
                  </a:lnTo>
                  <a:lnTo>
                    <a:pt x="2016122" y="227013"/>
                  </a:lnTo>
                  <a:lnTo>
                    <a:pt x="1979609" y="222251"/>
                  </a:lnTo>
                  <a:lnTo>
                    <a:pt x="1973259" y="206375"/>
                  </a:lnTo>
                  <a:lnTo>
                    <a:pt x="2000247" y="195263"/>
                  </a:lnTo>
                  <a:lnTo>
                    <a:pt x="2020884" y="195263"/>
                  </a:lnTo>
                  <a:lnTo>
                    <a:pt x="2047872" y="195263"/>
                  </a:lnTo>
                  <a:lnTo>
                    <a:pt x="2058984" y="174626"/>
                  </a:lnTo>
                  <a:lnTo>
                    <a:pt x="2090734" y="163513"/>
                  </a:lnTo>
                  <a:lnTo>
                    <a:pt x="2154234" y="169863"/>
                  </a:lnTo>
                  <a:lnTo>
                    <a:pt x="2163759" y="201613"/>
                  </a:lnTo>
                  <a:lnTo>
                    <a:pt x="2185985" y="190501"/>
                  </a:lnTo>
                  <a:lnTo>
                    <a:pt x="2217734" y="201613"/>
                  </a:lnTo>
                  <a:lnTo>
                    <a:pt x="2206622" y="174626"/>
                  </a:lnTo>
                  <a:lnTo>
                    <a:pt x="2222496" y="169863"/>
                  </a:lnTo>
                  <a:lnTo>
                    <a:pt x="2238371" y="185738"/>
                  </a:lnTo>
                  <a:lnTo>
                    <a:pt x="2259009" y="185738"/>
                  </a:lnTo>
                  <a:lnTo>
                    <a:pt x="2274884" y="206375"/>
                  </a:lnTo>
                  <a:lnTo>
                    <a:pt x="2290759" y="211138"/>
                  </a:lnTo>
                  <a:lnTo>
                    <a:pt x="2290759" y="195263"/>
                  </a:lnTo>
                  <a:lnTo>
                    <a:pt x="2317747" y="190501"/>
                  </a:lnTo>
                  <a:lnTo>
                    <a:pt x="2312984" y="185738"/>
                  </a:lnTo>
                  <a:lnTo>
                    <a:pt x="2285996" y="174626"/>
                  </a:lnTo>
                  <a:lnTo>
                    <a:pt x="2301872" y="158751"/>
                  </a:lnTo>
                  <a:lnTo>
                    <a:pt x="2328859" y="153988"/>
                  </a:lnTo>
                  <a:lnTo>
                    <a:pt x="2328859" y="169863"/>
                  </a:lnTo>
                  <a:lnTo>
                    <a:pt x="2376484" y="179388"/>
                  </a:lnTo>
                  <a:lnTo>
                    <a:pt x="2365372" y="163513"/>
                  </a:lnTo>
                  <a:lnTo>
                    <a:pt x="2376484" y="158751"/>
                  </a:lnTo>
                  <a:lnTo>
                    <a:pt x="2397122" y="158751"/>
                  </a:lnTo>
                  <a:close/>
                  <a:moveTo>
                    <a:pt x="1544780" y="142875"/>
                  </a:moveTo>
                  <a:cubicBezTo>
                    <a:pt x="1544780" y="142875"/>
                    <a:pt x="1544780" y="142875"/>
                    <a:pt x="1571479" y="158750"/>
                  </a:cubicBezTo>
                  <a:cubicBezTo>
                    <a:pt x="1571479" y="158750"/>
                    <a:pt x="1582158" y="179917"/>
                    <a:pt x="1582158" y="179917"/>
                  </a:cubicBezTo>
                  <a:cubicBezTo>
                    <a:pt x="1587498" y="185208"/>
                    <a:pt x="1544780" y="190500"/>
                    <a:pt x="1544780" y="190500"/>
                  </a:cubicBezTo>
                  <a:cubicBezTo>
                    <a:pt x="1544780" y="190500"/>
                    <a:pt x="1544780" y="190500"/>
                    <a:pt x="1528761" y="174625"/>
                  </a:cubicBezTo>
                  <a:cubicBezTo>
                    <a:pt x="1528761" y="174625"/>
                    <a:pt x="1528761" y="174625"/>
                    <a:pt x="1544780" y="169333"/>
                  </a:cubicBezTo>
                  <a:cubicBezTo>
                    <a:pt x="1544780" y="169333"/>
                    <a:pt x="1544780" y="169333"/>
                    <a:pt x="1534101" y="153459"/>
                  </a:cubicBezTo>
                  <a:close/>
                  <a:moveTo>
                    <a:pt x="465552" y="138113"/>
                  </a:moveTo>
                  <a:cubicBezTo>
                    <a:pt x="465552" y="138113"/>
                    <a:pt x="465552" y="138113"/>
                    <a:pt x="534327" y="159280"/>
                  </a:cubicBezTo>
                  <a:cubicBezTo>
                    <a:pt x="534327" y="159280"/>
                    <a:pt x="534327" y="159280"/>
                    <a:pt x="613683" y="201613"/>
                  </a:cubicBezTo>
                  <a:cubicBezTo>
                    <a:pt x="613683" y="201613"/>
                    <a:pt x="613683" y="201613"/>
                    <a:pt x="708909" y="275697"/>
                  </a:cubicBezTo>
                  <a:cubicBezTo>
                    <a:pt x="708909" y="275697"/>
                    <a:pt x="708909" y="275697"/>
                    <a:pt x="798846" y="355071"/>
                  </a:cubicBezTo>
                  <a:lnTo>
                    <a:pt x="825298" y="328613"/>
                  </a:lnTo>
                  <a:cubicBezTo>
                    <a:pt x="825298" y="328613"/>
                    <a:pt x="825298" y="328613"/>
                    <a:pt x="894073" y="323321"/>
                  </a:cubicBezTo>
                  <a:cubicBezTo>
                    <a:pt x="894073" y="323321"/>
                    <a:pt x="894073" y="323321"/>
                    <a:pt x="957557" y="370946"/>
                  </a:cubicBezTo>
                  <a:cubicBezTo>
                    <a:pt x="957557" y="370946"/>
                    <a:pt x="957557" y="370946"/>
                    <a:pt x="1015751" y="381530"/>
                  </a:cubicBezTo>
                  <a:cubicBezTo>
                    <a:pt x="1015751" y="381530"/>
                    <a:pt x="1015751" y="381530"/>
                    <a:pt x="1073945" y="434446"/>
                  </a:cubicBezTo>
                  <a:cubicBezTo>
                    <a:pt x="1073945" y="434446"/>
                    <a:pt x="1073945" y="434446"/>
                    <a:pt x="1100397" y="450321"/>
                  </a:cubicBezTo>
                  <a:cubicBezTo>
                    <a:pt x="1100397" y="450321"/>
                    <a:pt x="1100397" y="450321"/>
                    <a:pt x="1105687" y="476780"/>
                  </a:cubicBezTo>
                  <a:cubicBezTo>
                    <a:pt x="1105687" y="476780"/>
                    <a:pt x="1105687" y="476780"/>
                    <a:pt x="1089816" y="492655"/>
                  </a:cubicBezTo>
                  <a:cubicBezTo>
                    <a:pt x="1089816" y="492655"/>
                    <a:pt x="1089816" y="492655"/>
                    <a:pt x="1158591" y="503238"/>
                  </a:cubicBezTo>
                  <a:cubicBezTo>
                    <a:pt x="1158591" y="503238"/>
                    <a:pt x="1158591" y="503238"/>
                    <a:pt x="1174462" y="519113"/>
                  </a:cubicBezTo>
                  <a:cubicBezTo>
                    <a:pt x="1174462" y="519113"/>
                    <a:pt x="1174462" y="519113"/>
                    <a:pt x="1195623" y="545571"/>
                  </a:cubicBezTo>
                  <a:cubicBezTo>
                    <a:pt x="1195623" y="545571"/>
                    <a:pt x="1195623" y="545571"/>
                    <a:pt x="1211495" y="497946"/>
                  </a:cubicBezTo>
                  <a:cubicBezTo>
                    <a:pt x="1211495" y="497946"/>
                    <a:pt x="1211495" y="497946"/>
                    <a:pt x="1243237" y="492655"/>
                  </a:cubicBezTo>
                  <a:cubicBezTo>
                    <a:pt x="1243237" y="492655"/>
                    <a:pt x="1243237" y="492655"/>
                    <a:pt x="1253818" y="519113"/>
                  </a:cubicBezTo>
                  <a:cubicBezTo>
                    <a:pt x="1253818" y="519113"/>
                    <a:pt x="1253818" y="519113"/>
                    <a:pt x="1301431" y="545571"/>
                  </a:cubicBezTo>
                  <a:cubicBezTo>
                    <a:pt x="1301431" y="545571"/>
                    <a:pt x="1301431" y="545571"/>
                    <a:pt x="1349045" y="556155"/>
                  </a:cubicBezTo>
                  <a:cubicBezTo>
                    <a:pt x="1349045" y="556155"/>
                    <a:pt x="1349045" y="556155"/>
                    <a:pt x="1349045" y="540280"/>
                  </a:cubicBezTo>
                  <a:cubicBezTo>
                    <a:pt x="1349045" y="540280"/>
                    <a:pt x="1349045" y="540280"/>
                    <a:pt x="1375497" y="540280"/>
                  </a:cubicBezTo>
                  <a:cubicBezTo>
                    <a:pt x="1375497" y="540280"/>
                    <a:pt x="1375497" y="540280"/>
                    <a:pt x="1386078" y="582613"/>
                  </a:cubicBezTo>
                  <a:cubicBezTo>
                    <a:pt x="1386078" y="582613"/>
                    <a:pt x="1386078" y="582613"/>
                    <a:pt x="1433690" y="550863"/>
                  </a:cubicBezTo>
                  <a:cubicBezTo>
                    <a:pt x="1433690" y="550863"/>
                    <a:pt x="1433690" y="550863"/>
                    <a:pt x="1438981" y="513821"/>
                  </a:cubicBezTo>
                  <a:cubicBezTo>
                    <a:pt x="1438981" y="513821"/>
                    <a:pt x="1438981" y="513821"/>
                    <a:pt x="1423110" y="487363"/>
                  </a:cubicBezTo>
                  <a:cubicBezTo>
                    <a:pt x="1423110" y="487363"/>
                    <a:pt x="1423110" y="487363"/>
                    <a:pt x="1428400" y="445030"/>
                  </a:cubicBezTo>
                  <a:cubicBezTo>
                    <a:pt x="1428400" y="445030"/>
                    <a:pt x="1428400" y="445030"/>
                    <a:pt x="1470723" y="418571"/>
                  </a:cubicBezTo>
                  <a:cubicBezTo>
                    <a:pt x="1470723" y="418571"/>
                    <a:pt x="1470723" y="418571"/>
                    <a:pt x="1486594" y="450321"/>
                  </a:cubicBezTo>
                  <a:cubicBezTo>
                    <a:pt x="1486594" y="450321"/>
                    <a:pt x="1486594" y="450321"/>
                    <a:pt x="1486594" y="508530"/>
                  </a:cubicBezTo>
                  <a:cubicBezTo>
                    <a:pt x="1486594" y="508530"/>
                    <a:pt x="1486594" y="508530"/>
                    <a:pt x="1491885" y="572030"/>
                  </a:cubicBezTo>
                  <a:cubicBezTo>
                    <a:pt x="1491885" y="572030"/>
                    <a:pt x="1491885" y="572030"/>
                    <a:pt x="1513046" y="540280"/>
                  </a:cubicBezTo>
                  <a:cubicBezTo>
                    <a:pt x="1513046" y="540280"/>
                    <a:pt x="1513046" y="540280"/>
                    <a:pt x="1528917" y="550863"/>
                  </a:cubicBezTo>
                  <a:cubicBezTo>
                    <a:pt x="1528917" y="550863"/>
                    <a:pt x="1528917" y="550863"/>
                    <a:pt x="1513046" y="582613"/>
                  </a:cubicBezTo>
                  <a:cubicBezTo>
                    <a:pt x="1513046" y="582613"/>
                    <a:pt x="1513046" y="582613"/>
                    <a:pt x="1518337" y="614363"/>
                  </a:cubicBezTo>
                  <a:cubicBezTo>
                    <a:pt x="1518337" y="614363"/>
                    <a:pt x="1518337" y="614363"/>
                    <a:pt x="1565950" y="582613"/>
                  </a:cubicBezTo>
                  <a:cubicBezTo>
                    <a:pt x="1571240" y="582613"/>
                    <a:pt x="1581821" y="540280"/>
                    <a:pt x="1581821" y="540280"/>
                  </a:cubicBezTo>
                  <a:cubicBezTo>
                    <a:pt x="1581821" y="540280"/>
                    <a:pt x="1581821" y="540280"/>
                    <a:pt x="1629435" y="561446"/>
                  </a:cubicBezTo>
                  <a:cubicBezTo>
                    <a:pt x="1629435" y="561446"/>
                    <a:pt x="1629435" y="561446"/>
                    <a:pt x="1602983" y="646113"/>
                  </a:cubicBezTo>
                  <a:cubicBezTo>
                    <a:pt x="1602983" y="646113"/>
                    <a:pt x="1602983" y="646113"/>
                    <a:pt x="1550079" y="656696"/>
                  </a:cubicBezTo>
                  <a:cubicBezTo>
                    <a:pt x="1550079" y="656696"/>
                    <a:pt x="1550079" y="656696"/>
                    <a:pt x="1518337" y="646113"/>
                  </a:cubicBezTo>
                  <a:cubicBezTo>
                    <a:pt x="1518337" y="646113"/>
                    <a:pt x="1518337" y="646113"/>
                    <a:pt x="1470723" y="709613"/>
                  </a:cubicBezTo>
                  <a:cubicBezTo>
                    <a:pt x="1470723" y="709613"/>
                    <a:pt x="1470723" y="709613"/>
                    <a:pt x="1359625" y="746655"/>
                  </a:cubicBezTo>
                  <a:cubicBezTo>
                    <a:pt x="1359625" y="746655"/>
                    <a:pt x="1359625" y="746655"/>
                    <a:pt x="1296141" y="826030"/>
                  </a:cubicBezTo>
                  <a:cubicBezTo>
                    <a:pt x="1296141" y="826030"/>
                    <a:pt x="1296141" y="826030"/>
                    <a:pt x="1301431" y="937155"/>
                  </a:cubicBezTo>
                  <a:cubicBezTo>
                    <a:pt x="1301431" y="937155"/>
                    <a:pt x="1301431" y="937155"/>
                    <a:pt x="1333173" y="931863"/>
                  </a:cubicBezTo>
                  <a:cubicBezTo>
                    <a:pt x="1333173" y="931863"/>
                    <a:pt x="1333173" y="931863"/>
                    <a:pt x="1407239" y="995363"/>
                  </a:cubicBezTo>
                  <a:cubicBezTo>
                    <a:pt x="1407239" y="995363"/>
                    <a:pt x="1407239" y="995363"/>
                    <a:pt x="1454852" y="1011238"/>
                  </a:cubicBezTo>
                  <a:cubicBezTo>
                    <a:pt x="1454852" y="1011238"/>
                    <a:pt x="1454852" y="1011238"/>
                    <a:pt x="1433690" y="1095905"/>
                  </a:cubicBezTo>
                  <a:cubicBezTo>
                    <a:pt x="1433690" y="1095905"/>
                    <a:pt x="1433690" y="1095905"/>
                    <a:pt x="1465433" y="1122363"/>
                  </a:cubicBezTo>
                  <a:cubicBezTo>
                    <a:pt x="1465433" y="1122363"/>
                    <a:pt x="1465433" y="1122363"/>
                    <a:pt x="1497175" y="1085321"/>
                  </a:cubicBezTo>
                  <a:cubicBezTo>
                    <a:pt x="1497175" y="1085321"/>
                    <a:pt x="1497175" y="1085321"/>
                    <a:pt x="1502465" y="1037696"/>
                  </a:cubicBezTo>
                  <a:cubicBezTo>
                    <a:pt x="1502465" y="1037696"/>
                    <a:pt x="1502465" y="1037696"/>
                    <a:pt x="1560659" y="1021821"/>
                  </a:cubicBezTo>
                  <a:cubicBezTo>
                    <a:pt x="1560659" y="1021821"/>
                    <a:pt x="1560659" y="1021821"/>
                    <a:pt x="1576531" y="958321"/>
                  </a:cubicBezTo>
                  <a:cubicBezTo>
                    <a:pt x="1576531" y="958321"/>
                    <a:pt x="1576531" y="958321"/>
                    <a:pt x="1560659" y="915988"/>
                  </a:cubicBezTo>
                  <a:cubicBezTo>
                    <a:pt x="1560659" y="915988"/>
                    <a:pt x="1560659" y="915988"/>
                    <a:pt x="1587112" y="878946"/>
                  </a:cubicBezTo>
                  <a:cubicBezTo>
                    <a:pt x="1587112" y="878946"/>
                    <a:pt x="1587112" y="878946"/>
                    <a:pt x="1608273" y="799571"/>
                  </a:cubicBezTo>
                  <a:cubicBezTo>
                    <a:pt x="1608273" y="799571"/>
                    <a:pt x="1608273" y="799571"/>
                    <a:pt x="1671758" y="810155"/>
                  </a:cubicBezTo>
                  <a:cubicBezTo>
                    <a:pt x="1671758" y="810155"/>
                    <a:pt x="1671758" y="810155"/>
                    <a:pt x="1719371" y="868363"/>
                  </a:cubicBezTo>
                  <a:cubicBezTo>
                    <a:pt x="1719371" y="868363"/>
                    <a:pt x="1719371" y="868363"/>
                    <a:pt x="1719371" y="942446"/>
                  </a:cubicBezTo>
                  <a:cubicBezTo>
                    <a:pt x="1719371" y="942446"/>
                    <a:pt x="1719371" y="942446"/>
                    <a:pt x="1761694" y="958321"/>
                  </a:cubicBezTo>
                  <a:cubicBezTo>
                    <a:pt x="1761694" y="958321"/>
                    <a:pt x="1761694" y="958321"/>
                    <a:pt x="1809307" y="905405"/>
                  </a:cubicBezTo>
                  <a:cubicBezTo>
                    <a:pt x="1809307" y="905405"/>
                    <a:pt x="1809307" y="905405"/>
                    <a:pt x="1825178" y="937155"/>
                  </a:cubicBezTo>
                  <a:cubicBezTo>
                    <a:pt x="1825178" y="937155"/>
                    <a:pt x="1825178" y="937155"/>
                    <a:pt x="1841050" y="1027113"/>
                  </a:cubicBezTo>
                  <a:cubicBezTo>
                    <a:pt x="1841050" y="1027113"/>
                    <a:pt x="1841050" y="1027113"/>
                    <a:pt x="1899241" y="1090613"/>
                  </a:cubicBezTo>
                  <a:cubicBezTo>
                    <a:pt x="1899241" y="1090613"/>
                    <a:pt x="1899241" y="1090613"/>
                    <a:pt x="1899241" y="1175280"/>
                  </a:cubicBezTo>
                  <a:cubicBezTo>
                    <a:pt x="1899241" y="1175280"/>
                    <a:pt x="1899241" y="1175280"/>
                    <a:pt x="1867502" y="1233488"/>
                  </a:cubicBezTo>
                  <a:cubicBezTo>
                    <a:pt x="1867502" y="1233488"/>
                    <a:pt x="1867502" y="1233488"/>
                    <a:pt x="1915112" y="1233488"/>
                  </a:cubicBezTo>
                  <a:cubicBezTo>
                    <a:pt x="1915112" y="1233488"/>
                    <a:pt x="1915112" y="1233488"/>
                    <a:pt x="1920402" y="1291697"/>
                  </a:cubicBezTo>
                  <a:cubicBezTo>
                    <a:pt x="1920402" y="1291697"/>
                    <a:pt x="1920402" y="1291697"/>
                    <a:pt x="1835760" y="1259947"/>
                  </a:cubicBezTo>
                  <a:cubicBezTo>
                    <a:pt x="1835760" y="1259947"/>
                    <a:pt x="1825178" y="1249363"/>
                    <a:pt x="1825178" y="1238780"/>
                  </a:cubicBezTo>
                  <a:cubicBezTo>
                    <a:pt x="1825178" y="1233488"/>
                    <a:pt x="1872792" y="1180571"/>
                    <a:pt x="1872792" y="1180571"/>
                  </a:cubicBezTo>
                  <a:cubicBezTo>
                    <a:pt x="1872792" y="1180571"/>
                    <a:pt x="1872792" y="1180571"/>
                    <a:pt x="1793436" y="1180571"/>
                  </a:cubicBezTo>
                  <a:cubicBezTo>
                    <a:pt x="1793436" y="1180571"/>
                    <a:pt x="1793436" y="1180571"/>
                    <a:pt x="1698210" y="1185863"/>
                  </a:cubicBezTo>
                  <a:cubicBezTo>
                    <a:pt x="1698210" y="1185863"/>
                    <a:pt x="1698210" y="1185863"/>
                    <a:pt x="1714081" y="1217613"/>
                  </a:cubicBezTo>
                  <a:cubicBezTo>
                    <a:pt x="1714081" y="1217613"/>
                    <a:pt x="1714081" y="1217613"/>
                    <a:pt x="1714081" y="1270530"/>
                  </a:cubicBezTo>
                  <a:cubicBezTo>
                    <a:pt x="1714081" y="1270530"/>
                    <a:pt x="1714081" y="1270530"/>
                    <a:pt x="1766984" y="1312863"/>
                  </a:cubicBezTo>
                  <a:cubicBezTo>
                    <a:pt x="1766984" y="1312863"/>
                    <a:pt x="1766984" y="1312863"/>
                    <a:pt x="1729952" y="1349905"/>
                  </a:cubicBezTo>
                  <a:cubicBezTo>
                    <a:pt x="1729952" y="1349905"/>
                    <a:pt x="1729952" y="1349905"/>
                    <a:pt x="1666467" y="1365780"/>
                  </a:cubicBezTo>
                  <a:cubicBezTo>
                    <a:pt x="1666467" y="1365780"/>
                    <a:pt x="1666467" y="1365780"/>
                    <a:pt x="1645306" y="1334030"/>
                  </a:cubicBezTo>
                  <a:cubicBezTo>
                    <a:pt x="1645306" y="1334030"/>
                    <a:pt x="1645306" y="1334030"/>
                    <a:pt x="1581821" y="1360488"/>
                  </a:cubicBezTo>
                  <a:cubicBezTo>
                    <a:pt x="1581821" y="1360488"/>
                    <a:pt x="1581821" y="1360488"/>
                    <a:pt x="1565950" y="1402822"/>
                  </a:cubicBezTo>
                  <a:cubicBezTo>
                    <a:pt x="1565950" y="1402822"/>
                    <a:pt x="1565950" y="1402822"/>
                    <a:pt x="1523627" y="1418697"/>
                  </a:cubicBezTo>
                  <a:cubicBezTo>
                    <a:pt x="1523627" y="1418697"/>
                    <a:pt x="1523627" y="1418697"/>
                    <a:pt x="1470723" y="1461030"/>
                  </a:cubicBezTo>
                  <a:cubicBezTo>
                    <a:pt x="1470723" y="1461030"/>
                    <a:pt x="1470723" y="1461030"/>
                    <a:pt x="1417820" y="1561572"/>
                  </a:cubicBezTo>
                  <a:cubicBezTo>
                    <a:pt x="1417820" y="1561572"/>
                    <a:pt x="1417820" y="1561572"/>
                    <a:pt x="1359625" y="1582738"/>
                  </a:cubicBezTo>
                  <a:cubicBezTo>
                    <a:pt x="1359625" y="1582738"/>
                    <a:pt x="1359625" y="1582738"/>
                    <a:pt x="1280270" y="1677988"/>
                  </a:cubicBezTo>
                  <a:cubicBezTo>
                    <a:pt x="1280270" y="1677988"/>
                    <a:pt x="1280270" y="1677988"/>
                    <a:pt x="1301431" y="1762655"/>
                  </a:cubicBezTo>
                  <a:cubicBezTo>
                    <a:pt x="1301431" y="1762655"/>
                    <a:pt x="1301431" y="1762655"/>
                    <a:pt x="1274979" y="1804988"/>
                  </a:cubicBezTo>
                  <a:cubicBezTo>
                    <a:pt x="1274979" y="1804988"/>
                    <a:pt x="1274979" y="1804988"/>
                    <a:pt x="1264399" y="1783822"/>
                  </a:cubicBezTo>
                  <a:cubicBezTo>
                    <a:pt x="1264399" y="1783822"/>
                    <a:pt x="1264399" y="1783822"/>
                    <a:pt x="1248528" y="1746780"/>
                  </a:cubicBezTo>
                  <a:cubicBezTo>
                    <a:pt x="1248528" y="1746780"/>
                    <a:pt x="1248528" y="1746780"/>
                    <a:pt x="1253818" y="1709738"/>
                  </a:cubicBezTo>
                  <a:cubicBezTo>
                    <a:pt x="1253818" y="1709738"/>
                    <a:pt x="1253818" y="1709738"/>
                    <a:pt x="1232657" y="1672697"/>
                  </a:cubicBezTo>
                  <a:cubicBezTo>
                    <a:pt x="1232657" y="1672697"/>
                    <a:pt x="1232657" y="1672697"/>
                    <a:pt x="1200914" y="1677988"/>
                  </a:cubicBezTo>
                  <a:cubicBezTo>
                    <a:pt x="1200914" y="1677988"/>
                    <a:pt x="1200914" y="1677988"/>
                    <a:pt x="1163882" y="1667405"/>
                  </a:cubicBezTo>
                  <a:cubicBezTo>
                    <a:pt x="1163882" y="1667405"/>
                    <a:pt x="1163882" y="1667405"/>
                    <a:pt x="1121558" y="1662113"/>
                  </a:cubicBezTo>
                  <a:cubicBezTo>
                    <a:pt x="1121558" y="1662113"/>
                    <a:pt x="1121558" y="1662113"/>
                    <a:pt x="1095106" y="1693863"/>
                  </a:cubicBezTo>
                  <a:cubicBezTo>
                    <a:pt x="1095106" y="1693863"/>
                    <a:pt x="1058074" y="1677988"/>
                    <a:pt x="1058074" y="1667405"/>
                  </a:cubicBezTo>
                  <a:cubicBezTo>
                    <a:pt x="1058074" y="1662113"/>
                    <a:pt x="1005170" y="1677988"/>
                    <a:pt x="1005170" y="1677988"/>
                  </a:cubicBezTo>
                  <a:cubicBezTo>
                    <a:pt x="1005170" y="1677988"/>
                    <a:pt x="1005170" y="1677988"/>
                    <a:pt x="968138" y="1699155"/>
                  </a:cubicBezTo>
                  <a:cubicBezTo>
                    <a:pt x="968138" y="1699155"/>
                    <a:pt x="968138" y="1699155"/>
                    <a:pt x="936395" y="1773238"/>
                  </a:cubicBezTo>
                  <a:cubicBezTo>
                    <a:pt x="936395" y="1773238"/>
                    <a:pt x="936395" y="1773238"/>
                    <a:pt x="915234" y="1842030"/>
                  </a:cubicBezTo>
                  <a:cubicBezTo>
                    <a:pt x="915234" y="1842030"/>
                    <a:pt x="915234" y="1842030"/>
                    <a:pt x="946976" y="1937280"/>
                  </a:cubicBezTo>
                  <a:cubicBezTo>
                    <a:pt x="946976" y="1937280"/>
                    <a:pt x="946976" y="1937280"/>
                    <a:pt x="1015751" y="1947863"/>
                  </a:cubicBezTo>
                  <a:cubicBezTo>
                    <a:pt x="1015751" y="1947863"/>
                    <a:pt x="1015751" y="1947863"/>
                    <a:pt x="1058074" y="1916113"/>
                  </a:cubicBezTo>
                  <a:cubicBezTo>
                    <a:pt x="1058074" y="1916113"/>
                    <a:pt x="1058074" y="1916113"/>
                    <a:pt x="1079236" y="1889655"/>
                  </a:cubicBezTo>
                  <a:cubicBezTo>
                    <a:pt x="1079236" y="1889655"/>
                    <a:pt x="1079236" y="1889655"/>
                    <a:pt x="1116268" y="1873780"/>
                  </a:cubicBezTo>
                  <a:cubicBezTo>
                    <a:pt x="1116268" y="1873780"/>
                    <a:pt x="1116268" y="1873780"/>
                    <a:pt x="1132139" y="1905530"/>
                  </a:cubicBezTo>
                  <a:cubicBezTo>
                    <a:pt x="1132139" y="1905530"/>
                    <a:pt x="1132139" y="1905530"/>
                    <a:pt x="1105687" y="1958447"/>
                  </a:cubicBezTo>
                  <a:cubicBezTo>
                    <a:pt x="1105687" y="1958447"/>
                    <a:pt x="1105687" y="1958447"/>
                    <a:pt x="1079236" y="2006072"/>
                  </a:cubicBezTo>
                  <a:cubicBezTo>
                    <a:pt x="1079236" y="2006072"/>
                    <a:pt x="1079236" y="2006072"/>
                    <a:pt x="1137430" y="2027238"/>
                  </a:cubicBezTo>
                  <a:cubicBezTo>
                    <a:pt x="1137430" y="2027238"/>
                    <a:pt x="1137430" y="2027238"/>
                    <a:pt x="1179752" y="2032530"/>
                  </a:cubicBezTo>
                  <a:cubicBezTo>
                    <a:pt x="1179752" y="2032530"/>
                    <a:pt x="1179752" y="2032530"/>
                    <a:pt x="1163882" y="2106613"/>
                  </a:cubicBezTo>
                  <a:cubicBezTo>
                    <a:pt x="1163882" y="2106613"/>
                    <a:pt x="1163882" y="2106613"/>
                    <a:pt x="1185043" y="2154238"/>
                  </a:cubicBezTo>
                  <a:cubicBezTo>
                    <a:pt x="1185043" y="2154238"/>
                    <a:pt x="1185043" y="2154238"/>
                    <a:pt x="1227366" y="2175405"/>
                  </a:cubicBezTo>
                  <a:cubicBezTo>
                    <a:pt x="1227366" y="2175405"/>
                    <a:pt x="1227366" y="2175405"/>
                    <a:pt x="1280270" y="2164822"/>
                  </a:cubicBezTo>
                  <a:cubicBezTo>
                    <a:pt x="1280270" y="2164822"/>
                    <a:pt x="1280270" y="2164822"/>
                    <a:pt x="1317302" y="2180697"/>
                  </a:cubicBezTo>
                  <a:cubicBezTo>
                    <a:pt x="1317302" y="2180697"/>
                    <a:pt x="1317302" y="2180697"/>
                    <a:pt x="1364916" y="2127780"/>
                  </a:cubicBezTo>
                  <a:cubicBezTo>
                    <a:pt x="1364916" y="2127780"/>
                    <a:pt x="1364916" y="2127780"/>
                    <a:pt x="1417820" y="2133072"/>
                  </a:cubicBezTo>
                  <a:cubicBezTo>
                    <a:pt x="1417820" y="2133072"/>
                    <a:pt x="1417820" y="2133072"/>
                    <a:pt x="1444271" y="2111905"/>
                  </a:cubicBezTo>
                  <a:cubicBezTo>
                    <a:pt x="1444271" y="2111905"/>
                    <a:pt x="1444271" y="2111905"/>
                    <a:pt x="1476013" y="2148947"/>
                  </a:cubicBezTo>
                  <a:cubicBezTo>
                    <a:pt x="1476013" y="2148947"/>
                    <a:pt x="1476013" y="2148947"/>
                    <a:pt x="1518337" y="2138363"/>
                  </a:cubicBezTo>
                  <a:cubicBezTo>
                    <a:pt x="1518337" y="2138363"/>
                    <a:pt x="1518337" y="2138363"/>
                    <a:pt x="1550079" y="2154238"/>
                  </a:cubicBezTo>
                  <a:cubicBezTo>
                    <a:pt x="1550079" y="2154238"/>
                    <a:pt x="1550079" y="2154238"/>
                    <a:pt x="1592402" y="2143655"/>
                  </a:cubicBezTo>
                  <a:cubicBezTo>
                    <a:pt x="1592402" y="2143655"/>
                    <a:pt x="1592402" y="2143655"/>
                    <a:pt x="1640015" y="2180697"/>
                  </a:cubicBezTo>
                  <a:cubicBezTo>
                    <a:pt x="1640015" y="2180697"/>
                    <a:pt x="1640015" y="2180697"/>
                    <a:pt x="1698210" y="2238905"/>
                  </a:cubicBezTo>
                  <a:cubicBezTo>
                    <a:pt x="1698210" y="2238905"/>
                    <a:pt x="1698210" y="2238905"/>
                    <a:pt x="1756404" y="2238905"/>
                  </a:cubicBezTo>
                  <a:cubicBezTo>
                    <a:pt x="1756404" y="2238905"/>
                    <a:pt x="1756404" y="2238905"/>
                    <a:pt x="1825178" y="2275946"/>
                  </a:cubicBezTo>
                  <a:cubicBezTo>
                    <a:pt x="1825178" y="2275946"/>
                    <a:pt x="1825178" y="2275946"/>
                    <a:pt x="1851631" y="2344738"/>
                  </a:cubicBezTo>
                  <a:cubicBezTo>
                    <a:pt x="1851631" y="2344738"/>
                    <a:pt x="1851631" y="2344738"/>
                    <a:pt x="1835760" y="2381780"/>
                  </a:cubicBezTo>
                  <a:cubicBezTo>
                    <a:pt x="1835760" y="2381780"/>
                    <a:pt x="1835760" y="2381780"/>
                    <a:pt x="1920402" y="2392363"/>
                  </a:cubicBezTo>
                  <a:cubicBezTo>
                    <a:pt x="1920402" y="2392363"/>
                    <a:pt x="1920402" y="2392363"/>
                    <a:pt x="1962725" y="2439988"/>
                  </a:cubicBezTo>
                  <a:cubicBezTo>
                    <a:pt x="1962725" y="2439988"/>
                    <a:pt x="1962725" y="2439988"/>
                    <a:pt x="2042080" y="2439988"/>
                  </a:cubicBezTo>
                  <a:cubicBezTo>
                    <a:pt x="2042080" y="2439988"/>
                    <a:pt x="2042080" y="2439988"/>
                    <a:pt x="2100275" y="2482321"/>
                  </a:cubicBezTo>
                  <a:cubicBezTo>
                    <a:pt x="2100275" y="2482321"/>
                    <a:pt x="2100275" y="2482321"/>
                    <a:pt x="2147888" y="2477030"/>
                  </a:cubicBezTo>
                  <a:cubicBezTo>
                    <a:pt x="2147888" y="2477030"/>
                    <a:pt x="2147888" y="2477030"/>
                    <a:pt x="2163759" y="2519363"/>
                  </a:cubicBezTo>
                  <a:cubicBezTo>
                    <a:pt x="2163759" y="2519363"/>
                    <a:pt x="2163759" y="2519363"/>
                    <a:pt x="2153179" y="2588155"/>
                  </a:cubicBezTo>
                  <a:cubicBezTo>
                    <a:pt x="2153179" y="2588155"/>
                    <a:pt x="2153179" y="2588155"/>
                    <a:pt x="2094984" y="2662238"/>
                  </a:cubicBezTo>
                  <a:cubicBezTo>
                    <a:pt x="2094984" y="2662238"/>
                    <a:pt x="2094984" y="2662238"/>
                    <a:pt x="2094984" y="2731030"/>
                  </a:cubicBezTo>
                  <a:cubicBezTo>
                    <a:pt x="2094984" y="2731030"/>
                    <a:pt x="2094984" y="2731030"/>
                    <a:pt x="2068533" y="2799821"/>
                  </a:cubicBezTo>
                  <a:cubicBezTo>
                    <a:pt x="2068533" y="2799821"/>
                    <a:pt x="2068533" y="2799821"/>
                    <a:pt x="2047371" y="2858030"/>
                  </a:cubicBezTo>
                  <a:cubicBezTo>
                    <a:pt x="2047371" y="2858030"/>
                    <a:pt x="2047371" y="2858030"/>
                    <a:pt x="1999757" y="2873905"/>
                  </a:cubicBezTo>
                  <a:cubicBezTo>
                    <a:pt x="1999757" y="2873905"/>
                    <a:pt x="1999757" y="2873905"/>
                    <a:pt x="1952144" y="2895071"/>
                  </a:cubicBezTo>
                  <a:cubicBezTo>
                    <a:pt x="1952144" y="2895071"/>
                    <a:pt x="1952144" y="2895071"/>
                    <a:pt x="1915112" y="2942696"/>
                  </a:cubicBezTo>
                  <a:cubicBezTo>
                    <a:pt x="1915112" y="2942696"/>
                    <a:pt x="1915112" y="2942696"/>
                    <a:pt x="1915112" y="2990321"/>
                  </a:cubicBezTo>
                  <a:cubicBezTo>
                    <a:pt x="1915112" y="2990321"/>
                    <a:pt x="1915112" y="2990321"/>
                    <a:pt x="1867502" y="3069696"/>
                  </a:cubicBezTo>
                  <a:cubicBezTo>
                    <a:pt x="1867502" y="3069696"/>
                    <a:pt x="1867502" y="3069696"/>
                    <a:pt x="1825178" y="3154363"/>
                  </a:cubicBezTo>
                  <a:cubicBezTo>
                    <a:pt x="1825178" y="3154363"/>
                    <a:pt x="1825178" y="3154363"/>
                    <a:pt x="1745823" y="3138488"/>
                  </a:cubicBezTo>
                  <a:cubicBezTo>
                    <a:pt x="1745823" y="3138488"/>
                    <a:pt x="1745823" y="3138488"/>
                    <a:pt x="1793436" y="3191405"/>
                  </a:cubicBezTo>
                  <a:cubicBezTo>
                    <a:pt x="1793436" y="3191405"/>
                    <a:pt x="1793436" y="3191405"/>
                    <a:pt x="1772275" y="3244321"/>
                  </a:cubicBezTo>
                  <a:cubicBezTo>
                    <a:pt x="1772275" y="3244321"/>
                    <a:pt x="1772275" y="3244321"/>
                    <a:pt x="1714081" y="3265488"/>
                  </a:cubicBezTo>
                  <a:cubicBezTo>
                    <a:pt x="1714081" y="3265488"/>
                    <a:pt x="1714081" y="3265488"/>
                    <a:pt x="1698210" y="3318405"/>
                  </a:cubicBezTo>
                  <a:cubicBezTo>
                    <a:pt x="1698210" y="3318405"/>
                    <a:pt x="1698210" y="3318405"/>
                    <a:pt x="1655887" y="3334280"/>
                  </a:cubicBezTo>
                  <a:cubicBezTo>
                    <a:pt x="1655887" y="3334280"/>
                    <a:pt x="1655887" y="3334280"/>
                    <a:pt x="1671758" y="3403071"/>
                  </a:cubicBezTo>
                  <a:cubicBezTo>
                    <a:pt x="1671758" y="3403071"/>
                    <a:pt x="1671758" y="3403071"/>
                    <a:pt x="1640015" y="3445405"/>
                  </a:cubicBezTo>
                  <a:cubicBezTo>
                    <a:pt x="1640015" y="3445405"/>
                    <a:pt x="1640015" y="3445405"/>
                    <a:pt x="1677048" y="3498321"/>
                  </a:cubicBezTo>
                  <a:cubicBezTo>
                    <a:pt x="1677048" y="3498321"/>
                    <a:pt x="1677048" y="3498321"/>
                    <a:pt x="1640015" y="3577696"/>
                  </a:cubicBezTo>
                  <a:cubicBezTo>
                    <a:pt x="1640015" y="3577696"/>
                    <a:pt x="1640015" y="3577696"/>
                    <a:pt x="1650596" y="3635905"/>
                  </a:cubicBezTo>
                  <a:cubicBezTo>
                    <a:pt x="1650596" y="3635905"/>
                    <a:pt x="1650596" y="3635905"/>
                    <a:pt x="1735242" y="3694113"/>
                  </a:cubicBezTo>
                  <a:cubicBezTo>
                    <a:pt x="1735242" y="3694113"/>
                    <a:pt x="1735242" y="3694113"/>
                    <a:pt x="1634725" y="3694113"/>
                  </a:cubicBezTo>
                  <a:cubicBezTo>
                    <a:pt x="1634725" y="3694113"/>
                    <a:pt x="1634725" y="3694113"/>
                    <a:pt x="1565950" y="3625321"/>
                  </a:cubicBezTo>
                  <a:cubicBezTo>
                    <a:pt x="1565950" y="3625321"/>
                    <a:pt x="1565950" y="3625321"/>
                    <a:pt x="1523627" y="3545946"/>
                  </a:cubicBezTo>
                  <a:cubicBezTo>
                    <a:pt x="1523627" y="3545946"/>
                    <a:pt x="1523627" y="3545946"/>
                    <a:pt x="1523627" y="3429530"/>
                  </a:cubicBezTo>
                  <a:cubicBezTo>
                    <a:pt x="1523627" y="3429530"/>
                    <a:pt x="1523627" y="3429530"/>
                    <a:pt x="1491885" y="3344863"/>
                  </a:cubicBezTo>
                  <a:cubicBezTo>
                    <a:pt x="1491885" y="3344863"/>
                    <a:pt x="1491885" y="3344863"/>
                    <a:pt x="1476013" y="3265488"/>
                  </a:cubicBezTo>
                  <a:cubicBezTo>
                    <a:pt x="1476013" y="3265488"/>
                    <a:pt x="1476013" y="3265488"/>
                    <a:pt x="1491885" y="3170238"/>
                  </a:cubicBezTo>
                  <a:cubicBezTo>
                    <a:pt x="1491885" y="3170238"/>
                    <a:pt x="1491885" y="3170238"/>
                    <a:pt x="1470723" y="2895071"/>
                  </a:cubicBezTo>
                  <a:cubicBezTo>
                    <a:pt x="1470723" y="2895071"/>
                    <a:pt x="1470723" y="2895071"/>
                    <a:pt x="1454852" y="2789238"/>
                  </a:cubicBezTo>
                  <a:cubicBezTo>
                    <a:pt x="1454852" y="2789238"/>
                    <a:pt x="1454852" y="2789238"/>
                    <a:pt x="1354335" y="2725738"/>
                  </a:cubicBezTo>
                  <a:cubicBezTo>
                    <a:pt x="1354335" y="2725738"/>
                    <a:pt x="1354335" y="2725738"/>
                    <a:pt x="1296141" y="2651655"/>
                  </a:cubicBezTo>
                  <a:cubicBezTo>
                    <a:pt x="1296141" y="2651655"/>
                    <a:pt x="1296141" y="2651655"/>
                    <a:pt x="1248528" y="2529946"/>
                  </a:cubicBezTo>
                  <a:cubicBezTo>
                    <a:pt x="1248528" y="2529946"/>
                    <a:pt x="1248528" y="2529946"/>
                    <a:pt x="1222076" y="2529946"/>
                  </a:cubicBezTo>
                  <a:cubicBezTo>
                    <a:pt x="1222076" y="2529946"/>
                    <a:pt x="1222076" y="2529946"/>
                    <a:pt x="1211495" y="2477030"/>
                  </a:cubicBezTo>
                  <a:cubicBezTo>
                    <a:pt x="1211495" y="2477030"/>
                    <a:pt x="1211495" y="2477030"/>
                    <a:pt x="1237947" y="2445280"/>
                  </a:cubicBezTo>
                  <a:cubicBezTo>
                    <a:pt x="1237947" y="2445280"/>
                    <a:pt x="1237947" y="2445280"/>
                    <a:pt x="1227366" y="2392363"/>
                  </a:cubicBezTo>
                  <a:cubicBezTo>
                    <a:pt x="1227366" y="2392363"/>
                    <a:pt x="1227366" y="2392363"/>
                    <a:pt x="1280270" y="2323571"/>
                  </a:cubicBezTo>
                  <a:cubicBezTo>
                    <a:pt x="1280270" y="2323571"/>
                    <a:pt x="1280270" y="2323571"/>
                    <a:pt x="1296141" y="2223030"/>
                  </a:cubicBezTo>
                  <a:cubicBezTo>
                    <a:pt x="1296141" y="2223030"/>
                    <a:pt x="1296141" y="2223030"/>
                    <a:pt x="1280270" y="2185988"/>
                  </a:cubicBezTo>
                  <a:cubicBezTo>
                    <a:pt x="1280270" y="2185988"/>
                    <a:pt x="1280270" y="2185988"/>
                    <a:pt x="1259108" y="2180697"/>
                  </a:cubicBezTo>
                  <a:cubicBezTo>
                    <a:pt x="1259108" y="2180697"/>
                    <a:pt x="1259108" y="2180697"/>
                    <a:pt x="1227366" y="2212447"/>
                  </a:cubicBezTo>
                  <a:cubicBezTo>
                    <a:pt x="1227366" y="2212447"/>
                    <a:pt x="1227366" y="2212447"/>
                    <a:pt x="1179752" y="2185988"/>
                  </a:cubicBezTo>
                  <a:cubicBezTo>
                    <a:pt x="1179752" y="2185988"/>
                    <a:pt x="1179752" y="2185988"/>
                    <a:pt x="1116268" y="2127780"/>
                  </a:cubicBezTo>
                  <a:cubicBezTo>
                    <a:pt x="1116268" y="2127780"/>
                    <a:pt x="1116268" y="2127780"/>
                    <a:pt x="1073945" y="2053697"/>
                  </a:cubicBezTo>
                  <a:cubicBezTo>
                    <a:pt x="1073945" y="2053697"/>
                    <a:pt x="1073945" y="2053697"/>
                    <a:pt x="1010461" y="2053697"/>
                  </a:cubicBezTo>
                  <a:cubicBezTo>
                    <a:pt x="1010461" y="2053697"/>
                    <a:pt x="1010461" y="2053697"/>
                    <a:pt x="962847" y="1995488"/>
                  </a:cubicBezTo>
                  <a:cubicBezTo>
                    <a:pt x="962847" y="1995488"/>
                    <a:pt x="962847" y="1995488"/>
                    <a:pt x="915234" y="2006072"/>
                  </a:cubicBezTo>
                  <a:cubicBezTo>
                    <a:pt x="915234" y="2006072"/>
                    <a:pt x="915234" y="2006072"/>
                    <a:pt x="867620" y="1984905"/>
                  </a:cubicBezTo>
                  <a:cubicBezTo>
                    <a:pt x="867620" y="1984905"/>
                    <a:pt x="867620" y="1984905"/>
                    <a:pt x="830588" y="1947863"/>
                  </a:cubicBezTo>
                  <a:cubicBezTo>
                    <a:pt x="830588" y="1947863"/>
                    <a:pt x="830588" y="1947863"/>
                    <a:pt x="798846" y="1947863"/>
                  </a:cubicBezTo>
                  <a:cubicBezTo>
                    <a:pt x="798846" y="1947863"/>
                    <a:pt x="798846" y="1947863"/>
                    <a:pt x="756523" y="1900238"/>
                  </a:cubicBezTo>
                  <a:cubicBezTo>
                    <a:pt x="756523" y="1900238"/>
                    <a:pt x="756523" y="1900238"/>
                    <a:pt x="767104" y="1847322"/>
                  </a:cubicBezTo>
                  <a:cubicBezTo>
                    <a:pt x="767104" y="1847322"/>
                    <a:pt x="767104" y="1847322"/>
                    <a:pt x="708909" y="1720322"/>
                  </a:cubicBezTo>
                  <a:cubicBezTo>
                    <a:pt x="708909" y="1720322"/>
                    <a:pt x="708909" y="1720322"/>
                    <a:pt x="671877" y="1651530"/>
                  </a:cubicBezTo>
                  <a:cubicBezTo>
                    <a:pt x="671877" y="1651530"/>
                    <a:pt x="671877" y="1651530"/>
                    <a:pt x="671877" y="1603905"/>
                  </a:cubicBezTo>
                  <a:cubicBezTo>
                    <a:pt x="671877" y="1603905"/>
                    <a:pt x="671877" y="1603905"/>
                    <a:pt x="640135" y="1572155"/>
                  </a:cubicBezTo>
                  <a:cubicBezTo>
                    <a:pt x="640135" y="1572155"/>
                    <a:pt x="640135" y="1572155"/>
                    <a:pt x="645425" y="1646238"/>
                  </a:cubicBezTo>
                  <a:cubicBezTo>
                    <a:pt x="645425" y="1646238"/>
                    <a:pt x="645425" y="1646238"/>
                    <a:pt x="666586" y="1752072"/>
                  </a:cubicBezTo>
                  <a:cubicBezTo>
                    <a:pt x="666586" y="1752072"/>
                    <a:pt x="666586" y="1752072"/>
                    <a:pt x="682458" y="1826155"/>
                  </a:cubicBezTo>
                  <a:cubicBezTo>
                    <a:pt x="682458" y="1826155"/>
                    <a:pt x="682458" y="1826155"/>
                    <a:pt x="634844" y="1767947"/>
                  </a:cubicBezTo>
                  <a:cubicBezTo>
                    <a:pt x="634844" y="1767947"/>
                    <a:pt x="634844" y="1767947"/>
                    <a:pt x="645425" y="1725613"/>
                  </a:cubicBezTo>
                  <a:cubicBezTo>
                    <a:pt x="645425" y="1725613"/>
                    <a:pt x="645425" y="1725613"/>
                    <a:pt x="618973" y="1640947"/>
                  </a:cubicBezTo>
                  <a:cubicBezTo>
                    <a:pt x="618973" y="1640947"/>
                    <a:pt x="618973" y="1640947"/>
                    <a:pt x="597812" y="1535113"/>
                  </a:cubicBezTo>
                  <a:cubicBezTo>
                    <a:pt x="597812" y="1535113"/>
                    <a:pt x="597812" y="1535113"/>
                    <a:pt x="560779" y="1482197"/>
                  </a:cubicBezTo>
                  <a:cubicBezTo>
                    <a:pt x="560779" y="1482197"/>
                    <a:pt x="560779" y="1482197"/>
                    <a:pt x="529037" y="1386947"/>
                  </a:cubicBezTo>
                  <a:cubicBezTo>
                    <a:pt x="529037" y="1386947"/>
                    <a:pt x="529037" y="1386947"/>
                    <a:pt x="566069" y="1233488"/>
                  </a:cubicBezTo>
                  <a:cubicBezTo>
                    <a:pt x="566069" y="1233488"/>
                    <a:pt x="566069" y="1233488"/>
                    <a:pt x="634844" y="1117071"/>
                  </a:cubicBezTo>
                  <a:cubicBezTo>
                    <a:pt x="634844" y="1117071"/>
                    <a:pt x="634844" y="1117071"/>
                    <a:pt x="618973" y="1011238"/>
                  </a:cubicBezTo>
                  <a:cubicBezTo>
                    <a:pt x="618973" y="1011238"/>
                    <a:pt x="618973" y="1011238"/>
                    <a:pt x="613683" y="836613"/>
                  </a:cubicBezTo>
                  <a:cubicBezTo>
                    <a:pt x="613683" y="836613"/>
                    <a:pt x="613683" y="836613"/>
                    <a:pt x="576650" y="714905"/>
                  </a:cubicBezTo>
                  <a:cubicBezTo>
                    <a:pt x="576650" y="714905"/>
                    <a:pt x="576650" y="714905"/>
                    <a:pt x="529037" y="640821"/>
                  </a:cubicBezTo>
                  <a:cubicBezTo>
                    <a:pt x="529037" y="640821"/>
                    <a:pt x="529037" y="640821"/>
                    <a:pt x="470843" y="609071"/>
                  </a:cubicBezTo>
                  <a:cubicBezTo>
                    <a:pt x="470843" y="609071"/>
                    <a:pt x="470843" y="609071"/>
                    <a:pt x="380907" y="598488"/>
                  </a:cubicBezTo>
                  <a:cubicBezTo>
                    <a:pt x="380907" y="598488"/>
                    <a:pt x="380907" y="598488"/>
                    <a:pt x="380907" y="561446"/>
                  </a:cubicBezTo>
                  <a:cubicBezTo>
                    <a:pt x="380907" y="561446"/>
                    <a:pt x="380907" y="561446"/>
                    <a:pt x="322712" y="566738"/>
                  </a:cubicBezTo>
                  <a:cubicBezTo>
                    <a:pt x="322712" y="566738"/>
                    <a:pt x="322712" y="566738"/>
                    <a:pt x="312132" y="635530"/>
                  </a:cubicBezTo>
                  <a:cubicBezTo>
                    <a:pt x="312132" y="635530"/>
                    <a:pt x="312132" y="635530"/>
                    <a:pt x="264518" y="656696"/>
                  </a:cubicBezTo>
                  <a:cubicBezTo>
                    <a:pt x="264518" y="656696"/>
                    <a:pt x="264518" y="656696"/>
                    <a:pt x="132259" y="714905"/>
                  </a:cubicBezTo>
                  <a:cubicBezTo>
                    <a:pt x="132259" y="714905"/>
                    <a:pt x="132259" y="714905"/>
                    <a:pt x="52904" y="714905"/>
                  </a:cubicBezTo>
                  <a:cubicBezTo>
                    <a:pt x="52904" y="714905"/>
                    <a:pt x="52904" y="714905"/>
                    <a:pt x="0" y="746655"/>
                  </a:cubicBezTo>
                  <a:cubicBezTo>
                    <a:pt x="0" y="746655"/>
                    <a:pt x="0" y="746655"/>
                    <a:pt x="47613" y="693738"/>
                  </a:cubicBezTo>
                  <a:cubicBezTo>
                    <a:pt x="47613" y="693738"/>
                    <a:pt x="47613" y="693738"/>
                    <a:pt x="116388" y="693738"/>
                  </a:cubicBezTo>
                  <a:cubicBezTo>
                    <a:pt x="116388" y="693738"/>
                    <a:pt x="116388" y="693738"/>
                    <a:pt x="211615" y="635530"/>
                  </a:cubicBezTo>
                  <a:cubicBezTo>
                    <a:pt x="211615" y="635530"/>
                    <a:pt x="211615" y="635530"/>
                    <a:pt x="222195" y="598488"/>
                  </a:cubicBezTo>
                  <a:cubicBezTo>
                    <a:pt x="222195" y="598488"/>
                    <a:pt x="222195" y="598488"/>
                    <a:pt x="169292" y="582613"/>
                  </a:cubicBezTo>
                  <a:cubicBezTo>
                    <a:pt x="169292" y="582613"/>
                    <a:pt x="169292" y="582613"/>
                    <a:pt x="148130" y="540280"/>
                  </a:cubicBezTo>
                  <a:cubicBezTo>
                    <a:pt x="148130" y="540280"/>
                    <a:pt x="148130" y="540280"/>
                    <a:pt x="132259" y="508530"/>
                  </a:cubicBezTo>
                  <a:cubicBezTo>
                    <a:pt x="132259" y="508530"/>
                    <a:pt x="132259" y="508530"/>
                    <a:pt x="153421" y="487363"/>
                  </a:cubicBezTo>
                  <a:cubicBezTo>
                    <a:pt x="153421" y="487363"/>
                    <a:pt x="153421" y="487363"/>
                    <a:pt x="153421" y="439738"/>
                  </a:cubicBezTo>
                  <a:cubicBezTo>
                    <a:pt x="153421" y="439738"/>
                    <a:pt x="190453" y="413280"/>
                    <a:pt x="190453" y="418571"/>
                  </a:cubicBezTo>
                  <a:cubicBezTo>
                    <a:pt x="190453" y="423863"/>
                    <a:pt x="269809" y="392113"/>
                    <a:pt x="269809" y="392113"/>
                  </a:cubicBezTo>
                  <a:cubicBezTo>
                    <a:pt x="269809" y="392113"/>
                    <a:pt x="301551" y="360363"/>
                    <a:pt x="275099" y="370946"/>
                  </a:cubicBezTo>
                  <a:cubicBezTo>
                    <a:pt x="275099" y="370946"/>
                    <a:pt x="275099" y="370946"/>
                    <a:pt x="232776" y="355071"/>
                  </a:cubicBezTo>
                  <a:cubicBezTo>
                    <a:pt x="232776" y="355071"/>
                    <a:pt x="232776" y="355071"/>
                    <a:pt x="211615" y="323321"/>
                  </a:cubicBezTo>
                  <a:cubicBezTo>
                    <a:pt x="211615" y="323321"/>
                    <a:pt x="211615" y="323321"/>
                    <a:pt x="211615" y="291572"/>
                  </a:cubicBezTo>
                  <a:cubicBezTo>
                    <a:pt x="211615" y="291572"/>
                    <a:pt x="211615" y="291572"/>
                    <a:pt x="280390" y="270405"/>
                  </a:cubicBezTo>
                  <a:cubicBezTo>
                    <a:pt x="280390" y="270405"/>
                    <a:pt x="280390" y="270405"/>
                    <a:pt x="322712" y="312738"/>
                  </a:cubicBezTo>
                  <a:cubicBezTo>
                    <a:pt x="322712" y="312738"/>
                    <a:pt x="322712" y="312738"/>
                    <a:pt x="333293" y="280988"/>
                  </a:cubicBezTo>
                  <a:cubicBezTo>
                    <a:pt x="333293" y="280988"/>
                    <a:pt x="333293" y="280988"/>
                    <a:pt x="312132" y="270405"/>
                  </a:cubicBezTo>
                  <a:cubicBezTo>
                    <a:pt x="312132" y="270405"/>
                    <a:pt x="312132" y="270405"/>
                    <a:pt x="312132" y="228072"/>
                  </a:cubicBezTo>
                  <a:cubicBezTo>
                    <a:pt x="312132" y="228072"/>
                    <a:pt x="312132" y="228072"/>
                    <a:pt x="280390" y="196322"/>
                  </a:cubicBezTo>
                  <a:cubicBezTo>
                    <a:pt x="280390" y="196322"/>
                    <a:pt x="280390" y="196322"/>
                    <a:pt x="306841" y="169863"/>
                  </a:cubicBezTo>
                  <a:cubicBezTo>
                    <a:pt x="306841" y="169863"/>
                    <a:pt x="306841" y="169863"/>
                    <a:pt x="359745" y="180446"/>
                  </a:cubicBezTo>
                  <a:cubicBezTo>
                    <a:pt x="359745" y="180446"/>
                    <a:pt x="359745" y="180446"/>
                    <a:pt x="380907" y="159280"/>
                  </a:cubicBezTo>
                  <a:cubicBezTo>
                    <a:pt x="380907" y="159280"/>
                    <a:pt x="380907" y="159280"/>
                    <a:pt x="465552" y="138113"/>
                  </a:cubicBezTo>
                  <a:close/>
                  <a:moveTo>
                    <a:pt x="4964109" y="106363"/>
                  </a:moveTo>
                  <a:lnTo>
                    <a:pt x="5000621" y="115888"/>
                  </a:lnTo>
                  <a:lnTo>
                    <a:pt x="5000621" y="131763"/>
                  </a:lnTo>
                  <a:lnTo>
                    <a:pt x="4948234" y="138113"/>
                  </a:lnTo>
                  <a:close/>
                  <a:moveTo>
                    <a:pt x="1222374" y="100013"/>
                  </a:moveTo>
                  <a:lnTo>
                    <a:pt x="1269999" y="111126"/>
                  </a:lnTo>
                  <a:lnTo>
                    <a:pt x="1258886" y="138113"/>
                  </a:lnTo>
                  <a:lnTo>
                    <a:pt x="1243011" y="147638"/>
                  </a:lnTo>
                  <a:lnTo>
                    <a:pt x="1227136" y="127001"/>
                  </a:lnTo>
                  <a:lnTo>
                    <a:pt x="1206499" y="142876"/>
                  </a:lnTo>
                  <a:lnTo>
                    <a:pt x="1231899" y="169863"/>
                  </a:lnTo>
                  <a:lnTo>
                    <a:pt x="1254124" y="158751"/>
                  </a:lnTo>
                  <a:lnTo>
                    <a:pt x="1279524" y="179388"/>
                  </a:lnTo>
                  <a:lnTo>
                    <a:pt x="1290636" y="222251"/>
                  </a:lnTo>
                  <a:lnTo>
                    <a:pt x="1322386" y="222251"/>
                  </a:lnTo>
                  <a:lnTo>
                    <a:pt x="1327149" y="201613"/>
                  </a:lnTo>
                  <a:lnTo>
                    <a:pt x="1327149" y="179388"/>
                  </a:lnTo>
                  <a:lnTo>
                    <a:pt x="1354137" y="174626"/>
                  </a:lnTo>
                  <a:lnTo>
                    <a:pt x="1349374" y="206375"/>
                  </a:lnTo>
                  <a:lnTo>
                    <a:pt x="1370011" y="217488"/>
                  </a:lnTo>
                  <a:lnTo>
                    <a:pt x="1374774" y="238126"/>
                  </a:lnTo>
                  <a:lnTo>
                    <a:pt x="1349374" y="265113"/>
                  </a:lnTo>
                  <a:lnTo>
                    <a:pt x="1311274" y="249238"/>
                  </a:lnTo>
                  <a:lnTo>
                    <a:pt x="1285874" y="265113"/>
                  </a:lnTo>
                  <a:lnTo>
                    <a:pt x="1254124" y="258763"/>
                  </a:lnTo>
                  <a:lnTo>
                    <a:pt x="1238249" y="242888"/>
                  </a:lnTo>
                  <a:lnTo>
                    <a:pt x="1238249" y="233363"/>
                  </a:lnTo>
                  <a:lnTo>
                    <a:pt x="1258886" y="233363"/>
                  </a:lnTo>
                  <a:lnTo>
                    <a:pt x="1247773" y="211138"/>
                  </a:lnTo>
                  <a:lnTo>
                    <a:pt x="1231899" y="217488"/>
                  </a:lnTo>
                  <a:lnTo>
                    <a:pt x="1200148" y="201613"/>
                  </a:lnTo>
                  <a:lnTo>
                    <a:pt x="1200148" y="185738"/>
                  </a:lnTo>
                  <a:lnTo>
                    <a:pt x="1222374" y="185738"/>
                  </a:lnTo>
                  <a:lnTo>
                    <a:pt x="1200148" y="158751"/>
                  </a:lnTo>
                  <a:lnTo>
                    <a:pt x="1168399" y="163513"/>
                  </a:lnTo>
                  <a:lnTo>
                    <a:pt x="1136649" y="142876"/>
                  </a:lnTo>
                  <a:lnTo>
                    <a:pt x="1142999" y="122238"/>
                  </a:lnTo>
                  <a:lnTo>
                    <a:pt x="1195386" y="115888"/>
                  </a:lnTo>
                  <a:close/>
                  <a:moveTo>
                    <a:pt x="1444624" y="100013"/>
                  </a:moveTo>
                  <a:lnTo>
                    <a:pt x="1476373" y="106363"/>
                  </a:lnTo>
                  <a:lnTo>
                    <a:pt x="1517649" y="142876"/>
                  </a:lnTo>
                  <a:lnTo>
                    <a:pt x="1512886" y="174626"/>
                  </a:lnTo>
                  <a:lnTo>
                    <a:pt x="1497011" y="174626"/>
                  </a:lnTo>
                  <a:lnTo>
                    <a:pt x="1485898" y="147638"/>
                  </a:lnTo>
                  <a:lnTo>
                    <a:pt x="1438273" y="142876"/>
                  </a:lnTo>
                  <a:lnTo>
                    <a:pt x="1438273" y="131763"/>
                  </a:lnTo>
                  <a:lnTo>
                    <a:pt x="1460498" y="131763"/>
                  </a:lnTo>
                  <a:lnTo>
                    <a:pt x="1454148" y="122238"/>
                  </a:lnTo>
                  <a:lnTo>
                    <a:pt x="1438273" y="111126"/>
                  </a:lnTo>
                  <a:close/>
                  <a:moveTo>
                    <a:pt x="4260846" y="95250"/>
                  </a:moveTo>
                  <a:lnTo>
                    <a:pt x="4297358" y="95250"/>
                  </a:lnTo>
                  <a:lnTo>
                    <a:pt x="4324346" y="106363"/>
                  </a:lnTo>
                  <a:lnTo>
                    <a:pt x="4324346" y="127001"/>
                  </a:lnTo>
                  <a:lnTo>
                    <a:pt x="4297358" y="138113"/>
                  </a:lnTo>
                  <a:lnTo>
                    <a:pt x="4286246" y="153988"/>
                  </a:lnTo>
                  <a:lnTo>
                    <a:pt x="4276721" y="147638"/>
                  </a:lnTo>
                  <a:lnTo>
                    <a:pt x="4270371" y="111125"/>
                  </a:lnTo>
                  <a:lnTo>
                    <a:pt x="4260846" y="100012"/>
                  </a:lnTo>
                  <a:close/>
                  <a:moveTo>
                    <a:pt x="1353606" y="84138"/>
                  </a:moveTo>
                  <a:cubicBezTo>
                    <a:pt x="1353606" y="84138"/>
                    <a:pt x="1353606" y="84138"/>
                    <a:pt x="1374773" y="94818"/>
                  </a:cubicBezTo>
                  <a:cubicBezTo>
                    <a:pt x="1374773" y="94818"/>
                    <a:pt x="1353606" y="137536"/>
                    <a:pt x="1353606" y="137536"/>
                  </a:cubicBezTo>
                  <a:cubicBezTo>
                    <a:pt x="1353606" y="137536"/>
                    <a:pt x="1316564" y="142876"/>
                    <a:pt x="1316564" y="142876"/>
                  </a:cubicBezTo>
                  <a:cubicBezTo>
                    <a:pt x="1316564" y="142876"/>
                    <a:pt x="1316564" y="142876"/>
                    <a:pt x="1311273" y="121517"/>
                  </a:cubicBezTo>
                  <a:lnTo>
                    <a:pt x="1316564" y="94818"/>
                  </a:lnTo>
                  <a:cubicBezTo>
                    <a:pt x="1316564" y="94818"/>
                    <a:pt x="1316564" y="94818"/>
                    <a:pt x="1353606" y="84138"/>
                  </a:cubicBezTo>
                  <a:close/>
                  <a:moveTo>
                    <a:pt x="4159246" y="79375"/>
                  </a:moveTo>
                  <a:lnTo>
                    <a:pt x="4190995" y="79375"/>
                  </a:lnTo>
                  <a:lnTo>
                    <a:pt x="4197345" y="95250"/>
                  </a:lnTo>
                  <a:lnTo>
                    <a:pt x="4217983" y="79375"/>
                  </a:lnTo>
                  <a:lnTo>
                    <a:pt x="4238620" y="84138"/>
                  </a:lnTo>
                  <a:lnTo>
                    <a:pt x="4249733" y="127001"/>
                  </a:lnTo>
                  <a:lnTo>
                    <a:pt x="4213220" y="138113"/>
                  </a:lnTo>
                  <a:lnTo>
                    <a:pt x="4122733" y="138113"/>
                  </a:lnTo>
                  <a:lnTo>
                    <a:pt x="4111621" y="131763"/>
                  </a:lnTo>
                  <a:lnTo>
                    <a:pt x="4122733" y="100013"/>
                  </a:lnTo>
                  <a:close/>
                  <a:moveTo>
                    <a:pt x="1635123" y="74613"/>
                  </a:moveTo>
                  <a:lnTo>
                    <a:pt x="1671635" y="127001"/>
                  </a:lnTo>
                  <a:lnTo>
                    <a:pt x="1703385" y="147638"/>
                  </a:lnTo>
                  <a:lnTo>
                    <a:pt x="1698622" y="163513"/>
                  </a:lnTo>
                  <a:lnTo>
                    <a:pt x="1682748" y="179388"/>
                  </a:lnTo>
                  <a:lnTo>
                    <a:pt x="1650998" y="190501"/>
                  </a:lnTo>
                  <a:lnTo>
                    <a:pt x="1628773" y="195263"/>
                  </a:lnTo>
                  <a:lnTo>
                    <a:pt x="1592261" y="158751"/>
                  </a:lnTo>
                  <a:lnTo>
                    <a:pt x="1624010" y="153988"/>
                  </a:lnTo>
                  <a:lnTo>
                    <a:pt x="1628773" y="138113"/>
                  </a:lnTo>
                  <a:lnTo>
                    <a:pt x="1603373" y="142876"/>
                  </a:lnTo>
                  <a:lnTo>
                    <a:pt x="1581148" y="131763"/>
                  </a:lnTo>
                  <a:lnTo>
                    <a:pt x="1581148" y="106363"/>
                  </a:lnTo>
                  <a:lnTo>
                    <a:pt x="1612898" y="106363"/>
                  </a:lnTo>
                  <a:lnTo>
                    <a:pt x="1608136" y="84138"/>
                  </a:lnTo>
                  <a:close/>
                  <a:moveTo>
                    <a:pt x="1777725" y="68263"/>
                  </a:moveTo>
                  <a:cubicBezTo>
                    <a:pt x="1825395" y="94813"/>
                    <a:pt x="1825395" y="94813"/>
                    <a:pt x="1825395" y="94813"/>
                  </a:cubicBezTo>
                  <a:cubicBezTo>
                    <a:pt x="1878363" y="84193"/>
                    <a:pt x="1878363" y="84193"/>
                    <a:pt x="1878363" y="84193"/>
                  </a:cubicBezTo>
                  <a:cubicBezTo>
                    <a:pt x="1931327" y="94813"/>
                    <a:pt x="1931327" y="94813"/>
                    <a:pt x="1931327" y="94813"/>
                  </a:cubicBezTo>
                  <a:cubicBezTo>
                    <a:pt x="2042559" y="131982"/>
                    <a:pt x="2042559" y="131982"/>
                    <a:pt x="2042559" y="131982"/>
                  </a:cubicBezTo>
                  <a:cubicBezTo>
                    <a:pt x="2063747" y="142602"/>
                    <a:pt x="2063747" y="142602"/>
                    <a:pt x="2063747" y="142602"/>
                  </a:cubicBezTo>
                  <a:cubicBezTo>
                    <a:pt x="2042559" y="158531"/>
                    <a:pt x="2042559" y="158531"/>
                    <a:pt x="2042559" y="158531"/>
                  </a:cubicBezTo>
                  <a:cubicBezTo>
                    <a:pt x="2005482" y="158531"/>
                    <a:pt x="2005482" y="158531"/>
                    <a:pt x="2005482" y="158531"/>
                  </a:cubicBezTo>
                  <a:cubicBezTo>
                    <a:pt x="1989592" y="174461"/>
                    <a:pt x="1989592" y="174461"/>
                    <a:pt x="1989592" y="174461"/>
                  </a:cubicBezTo>
                  <a:cubicBezTo>
                    <a:pt x="1941921" y="190391"/>
                    <a:pt x="1941921" y="190391"/>
                    <a:pt x="1941921" y="190391"/>
                  </a:cubicBezTo>
                  <a:cubicBezTo>
                    <a:pt x="1910141" y="211631"/>
                    <a:pt x="1910141" y="211631"/>
                    <a:pt x="1910141" y="211631"/>
                  </a:cubicBezTo>
                  <a:cubicBezTo>
                    <a:pt x="1825395" y="211631"/>
                    <a:pt x="1825395" y="211631"/>
                    <a:pt x="1825395" y="211631"/>
                  </a:cubicBezTo>
                  <a:cubicBezTo>
                    <a:pt x="1825395" y="227560"/>
                    <a:pt x="1825395" y="227560"/>
                    <a:pt x="1825395" y="227560"/>
                  </a:cubicBezTo>
                  <a:cubicBezTo>
                    <a:pt x="1857176" y="238180"/>
                    <a:pt x="1857176" y="238180"/>
                    <a:pt x="1857176" y="238180"/>
                  </a:cubicBezTo>
                  <a:cubicBezTo>
                    <a:pt x="1846582" y="254110"/>
                    <a:pt x="1846582" y="254110"/>
                    <a:pt x="1846582" y="254110"/>
                  </a:cubicBezTo>
                  <a:cubicBezTo>
                    <a:pt x="1809505" y="264730"/>
                    <a:pt x="1809505" y="264730"/>
                    <a:pt x="1809505" y="264730"/>
                  </a:cubicBezTo>
                  <a:cubicBezTo>
                    <a:pt x="1788318" y="280659"/>
                    <a:pt x="1788318" y="280659"/>
                    <a:pt x="1788318" y="280659"/>
                  </a:cubicBezTo>
                  <a:cubicBezTo>
                    <a:pt x="1767131" y="280659"/>
                    <a:pt x="1767131" y="280659"/>
                    <a:pt x="1767131" y="280659"/>
                  </a:cubicBezTo>
                  <a:cubicBezTo>
                    <a:pt x="1788318" y="301899"/>
                    <a:pt x="1788318" y="301899"/>
                    <a:pt x="1788318" y="301899"/>
                  </a:cubicBezTo>
                  <a:cubicBezTo>
                    <a:pt x="1772428" y="317829"/>
                    <a:pt x="1772428" y="317829"/>
                    <a:pt x="1772428" y="317829"/>
                  </a:cubicBezTo>
                  <a:cubicBezTo>
                    <a:pt x="1730053" y="301899"/>
                    <a:pt x="1730053" y="301899"/>
                    <a:pt x="1730053" y="301899"/>
                  </a:cubicBezTo>
                  <a:cubicBezTo>
                    <a:pt x="1613525" y="264730"/>
                    <a:pt x="1613525" y="264730"/>
                    <a:pt x="1613525" y="264730"/>
                  </a:cubicBezTo>
                  <a:cubicBezTo>
                    <a:pt x="1587041" y="275350"/>
                    <a:pt x="1587041" y="275350"/>
                    <a:pt x="1587041" y="275350"/>
                  </a:cubicBezTo>
                  <a:cubicBezTo>
                    <a:pt x="1592338" y="301899"/>
                    <a:pt x="1592338" y="301899"/>
                    <a:pt x="1592338" y="301899"/>
                  </a:cubicBezTo>
                  <a:cubicBezTo>
                    <a:pt x="1618822" y="317829"/>
                    <a:pt x="1618822" y="317829"/>
                    <a:pt x="1618822" y="317829"/>
                  </a:cubicBezTo>
                  <a:cubicBezTo>
                    <a:pt x="1666492" y="328449"/>
                    <a:pt x="1666492" y="328449"/>
                    <a:pt x="1666492" y="328449"/>
                  </a:cubicBezTo>
                  <a:cubicBezTo>
                    <a:pt x="1708867" y="323139"/>
                    <a:pt x="1708867" y="323139"/>
                    <a:pt x="1708867" y="323139"/>
                  </a:cubicBezTo>
                  <a:cubicBezTo>
                    <a:pt x="1740647" y="349688"/>
                    <a:pt x="1740647" y="349688"/>
                    <a:pt x="1740647" y="349688"/>
                  </a:cubicBezTo>
                  <a:cubicBezTo>
                    <a:pt x="1735350" y="370928"/>
                    <a:pt x="1735350" y="370928"/>
                    <a:pt x="1735350" y="370928"/>
                  </a:cubicBezTo>
                  <a:cubicBezTo>
                    <a:pt x="1708867" y="376238"/>
                    <a:pt x="1708867" y="376238"/>
                    <a:pt x="1708867" y="376238"/>
                  </a:cubicBezTo>
                  <a:cubicBezTo>
                    <a:pt x="1655899" y="365618"/>
                    <a:pt x="1655899" y="365618"/>
                    <a:pt x="1655899" y="365618"/>
                  </a:cubicBezTo>
                  <a:cubicBezTo>
                    <a:pt x="1592338" y="344378"/>
                    <a:pt x="1592338" y="344378"/>
                    <a:pt x="1592338" y="344378"/>
                  </a:cubicBezTo>
                  <a:cubicBezTo>
                    <a:pt x="1571151" y="354998"/>
                    <a:pt x="1571151" y="354998"/>
                    <a:pt x="1571151" y="354998"/>
                  </a:cubicBezTo>
                  <a:cubicBezTo>
                    <a:pt x="1571151" y="354998"/>
                    <a:pt x="1544667" y="323139"/>
                    <a:pt x="1544667" y="317829"/>
                  </a:cubicBezTo>
                  <a:cubicBezTo>
                    <a:pt x="1544667" y="317829"/>
                    <a:pt x="1555261" y="275350"/>
                    <a:pt x="1555261" y="275350"/>
                  </a:cubicBezTo>
                  <a:cubicBezTo>
                    <a:pt x="1528777" y="264730"/>
                    <a:pt x="1528777" y="264730"/>
                    <a:pt x="1528777" y="264730"/>
                  </a:cubicBezTo>
                  <a:cubicBezTo>
                    <a:pt x="1512887" y="232870"/>
                    <a:pt x="1512887" y="232870"/>
                    <a:pt x="1512887" y="232870"/>
                  </a:cubicBezTo>
                  <a:cubicBezTo>
                    <a:pt x="1549964" y="222251"/>
                    <a:pt x="1549964" y="222251"/>
                    <a:pt x="1549964" y="222251"/>
                  </a:cubicBezTo>
                  <a:cubicBezTo>
                    <a:pt x="1565854" y="248800"/>
                    <a:pt x="1565854" y="248800"/>
                    <a:pt x="1565854" y="248800"/>
                  </a:cubicBezTo>
                  <a:cubicBezTo>
                    <a:pt x="1597635" y="254110"/>
                    <a:pt x="1597635" y="254110"/>
                    <a:pt x="1597635" y="254110"/>
                  </a:cubicBezTo>
                  <a:cubicBezTo>
                    <a:pt x="1629415" y="248800"/>
                    <a:pt x="1629415" y="248800"/>
                    <a:pt x="1629415" y="248800"/>
                  </a:cubicBezTo>
                  <a:cubicBezTo>
                    <a:pt x="1661196" y="248800"/>
                    <a:pt x="1661196" y="248800"/>
                    <a:pt x="1661196" y="248800"/>
                  </a:cubicBezTo>
                  <a:cubicBezTo>
                    <a:pt x="1655899" y="232870"/>
                    <a:pt x="1655899" y="232870"/>
                    <a:pt x="1655899" y="232870"/>
                  </a:cubicBezTo>
                  <a:cubicBezTo>
                    <a:pt x="1682383" y="222251"/>
                    <a:pt x="1682383" y="222251"/>
                    <a:pt x="1682383" y="222251"/>
                  </a:cubicBezTo>
                  <a:cubicBezTo>
                    <a:pt x="1698273" y="243490"/>
                    <a:pt x="1698273" y="243490"/>
                    <a:pt x="1698273" y="243490"/>
                  </a:cubicBezTo>
                  <a:cubicBezTo>
                    <a:pt x="1719460" y="264730"/>
                    <a:pt x="1719460" y="264730"/>
                    <a:pt x="1719460" y="264730"/>
                  </a:cubicBezTo>
                  <a:cubicBezTo>
                    <a:pt x="1740647" y="264730"/>
                    <a:pt x="1740647" y="264730"/>
                    <a:pt x="1740647" y="264730"/>
                  </a:cubicBezTo>
                  <a:cubicBezTo>
                    <a:pt x="1740647" y="243490"/>
                    <a:pt x="1740647" y="243490"/>
                    <a:pt x="1740647" y="243490"/>
                  </a:cubicBezTo>
                  <a:cubicBezTo>
                    <a:pt x="1724757" y="243490"/>
                    <a:pt x="1724757" y="243490"/>
                    <a:pt x="1724757" y="243490"/>
                  </a:cubicBezTo>
                  <a:cubicBezTo>
                    <a:pt x="1708867" y="232870"/>
                    <a:pt x="1708867" y="232870"/>
                    <a:pt x="1708867" y="232870"/>
                  </a:cubicBezTo>
                  <a:cubicBezTo>
                    <a:pt x="1719460" y="216941"/>
                    <a:pt x="1719460" y="216941"/>
                    <a:pt x="1719460" y="216941"/>
                  </a:cubicBezTo>
                  <a:cubicBezTo>
                    <a:pt x="1677086" y="206321"/>
                    <a:pt x="1677086" y="206321"/>
                    <a:pt x="1677086" y="206321"/>
                  </a:cubicBezTo>
                  <a:cubicBezTo>
                    <a:pt x="1698273" y="190391"/>
                    <a:pt x="1698273" y="190391"/>
                    <a:pt x="1698273" y="190391"/>
                  </a:cubicBezTo>
                  <a:cubicBezTo>
                    <a:pt x="1735350" y="201011"/>
                    <a:pt x="1735350" y="201011"/>
                    <a:pt x="1735350" y="201011"/>
                  </a:cubicBezTo>
                  <a:cubicBezTo>
                    <a:pt x="1745944" y="190391"/>
                    <a:pt x="1745944" y="190391"/>
                    <a:pt x="1745944" y="190391"/>
                  </a:cubicBezTo>
                  <a:cubicBezTo>
                    <a:pt x="1724757" y="158531"/>
                    <a:pt x="1724757" y="158531"/>
                    <a:pt x="1724757" y="158531"/>
                  </a:cubicBezTo>
                  <a:cubicBezTo>
                    <a:pt x="1735350" y="147912"/>
                    <a:pt x="1735350" y="147912"/>
                    <a:pt x="1735350" y="147912"/>
                  </a:cubicBezTo>
                  <a:cubicBezTo>
                    <a:pt x="1761835" y="163841"/>
                    <a:pt x="1761835" y="163841"/>
                    <a:pt x="1761835" y="163841"/>
                  </a:cubicBezTo>
                  <a:cubicBezTo>
                    <a:pt x="1772428" y="179771"/>
                    <a:pt x="1772428" y="179771"/>
                    <a:pt x="1772428" y="179771"/>
                  </a:cubicBezTo>
                  <a:cubicBezTo>
                    <a:pt x="1788318" y="190391"/>
                    <a:pt x="1788318" y="190391"/>
                    <a:pt x="1788318" y="190391"/>
                  </a:cubicBezTo>
                  <a:cubicBezTo>
                    <a:pt x="1788318" y="174461"/>
                    <a:pt x="1788318" y="174461"/>
                    <a:pt x="1788318" y="174461"/>
                  </a:cubicBezTo>
                  <a:cubicBezTo>
                    <a:pt x="1825395" y="163841"/>
                    <a:pt x="1825395" y="163841"/>
                    <a:pt x="1825395" y="163841"/>
                  </a:cubicBezTo>
                  <a:cubicBezTo>
                    <a:pt x="1846582" y="153222"/>
                    <a:pt x="1846582" y="153222"/>
                    <a:pt x="1846582" y="153222"/>
                  </a:cubicBezTo>
                  <a:cubicBezTo>
                    <a:pt x="1846582" y="131982"/>
                    <a:pt x="1846582" y="131982"/>
                    <a:pt x="1846582" y="131982"/>
                  </a:cubicBezTo>
                  <a:cubicBezTo>
                    <a:pt x="1830692" y="131982"/>
                    <a:pt x="1830692" y="131982"/>
                    <a:pt x="1830692" y="131982"/>
                  </a:cubicBezTo>
                  <a:cubicBezTo>
                    <a:pt x="1804208" y="147912"/>
                    <a:pt x="1804208" y="147912"/>
                    <a:pt x="1804208" y="147912"/>
                  </a:cubicBezTo>
                  <a:cubicBezTo>
                    <a:pt x="1767131" y="142602"/>
                    <a:pt x="1767131" y="142602"/>
                    <a:pt x="1767131" y="142602"/>
                  </a:cubicBezTo>
                  <a:cubicBezTo>
                    <a:pt x="1745944" y="131982"/>
                    <a:pt x="1745944" y="131982"/>
                    <a:pt x="1745944" y="131982"/>
                  </a:cubicBezTo>
                  <a:cubicBezTo>
                    <a:pt x="1724757" y="131982"/>
                    <a:pt x="1724757" y="131982"/>
                    <a:pt x="1724757" y="131982"/>
                  </a:cubicBezTo>
                  <a:cubicBezTo>
                    <a:pt x="1703570" y="131982"/>
                    <a:pt x="1703570" y="131982"/>
                    <a:pt x="1703570" y="131982"/>
                  </a:cubicBezTo>
                  <a:cubicBezTo>
                    <a:pt x="1692976" y="110742"/>
                    <a:pt x="1692976" y="110742"/>
                    <a:pt x="1692976" y="110742"/>
                  </a:cubicBezTo>
                  <a:cubicBezTo>
                    <a:pt x="1692976" y="89503"/>
                    <a:pt x="1692976" y="89503"/>
                    <a:pt x="1692976" y="89503"/>
                  </a:cubicBezTo>
                  <a:cubicBezTo>
                    <a:pt x="1677086" y="84193"/>
                    <a:pt x="1677086" y="84193"/>
                    <a:pt x="1677086" y="84193"/>
                  </a:cubicBezTo>
                  <a:lnTo>
                    <a:pt x="1682383" y="78883"/>
                  </a:lnTo>
                  <a:cubicBezTo>
                    <a:pt x="1777725" y="68263"/>
                    <a:pt x="1777725" y="68263"/>
                    <a:pt x="1777725" y="68263"/>
                  </a:cubicBezTo>
                  <a:close/>
                  <a:moveTo>
                    <a:pt x="5657276" y="47625"/>
                  </a:moveTo>
                  <a:cubicBezTo>
                    <a:pt x="5657276" y="47625"/>
                    <a:pt x="5657276" y="47625"/>
                    <a:pt x="5673154" y="68788"/>
                  </a:cubicBezTo>
                  <a:cubicBezTo>
                    <a:pt x="5673154" y="68788"/>
                    <a:pt x="5673154" y="68788"/>
                    <a:pt x="5741956" y="89951"/>
                  </a:cubicBezTo>
                  <a:cubicBezTo>
                    <a:pt x="5741956" y="89951"/>
                    <a:pt x="5741956" y="89951"/>
                    <a:pt x="5789588" y="95242"/>
                  </a:cubicBezTo>
                  <a:cubicBezTo>
                    <a:pt x="5789588" y="95242"/>
                    <a:pt x="5789588" y="95242"/>
                    <a:pt x="5805466" y="111114"/>
                  </a:cubicBezTo>
                  <a:cubicBezTo>
                    <a:pt x="5805466" y="111114"/>
                    <a:pt x="5805466" y="111114"/>
                    <a:pt x="5826636" y="105823"/>
                  </a:cubicBezTo>
                  <a:cubicBezTo>
                    <a:pt x="5826636" y="105823"/>
                    <a:pt x="5826636" y="105823"/>
                    <a:pt x="5879561" y="105823"/>
                  </a:cubicBezTo>
                  <a:cubicBezTo>
                    <a:pt x="5879561" y="105823"/>
                    <a:pt x="5879561" y="105823"/>
                    <a:pt x="5911316" y="116405"/>
                  </a:cubicBezTo>
                  <a:cubicBezTo>
                    <a:pt x="5911316" y="116405"/>
                    <a:pt x="5911316" y="116405"/>
                    <a:pt x="5906023" y="158731"/>
                  </a:cubicBezTo>
                  <a:cubicBezTo>
                    <a:pt x="5906023" y="158731"/>
                    <a:pt x="5906023" y="158731"/>
                    <a:pt x="5874268" y="169313"/>
                  </a:cubicBezTo>
                  <a:cubicBezTo>
                    <a:pt x="5874268" y="169313"/>
                    <a:pt x="5874268" y="169313"/>
                    <a:pt x="5895438" y="179894"/>
                  </a:cubicBezTo>
                  <a:lnTo>
                    <a:pt x="5916608" y="211638"/>
                  </a:lnTo>
                  <a:cubicBezTo>
                    <a:pt x="5916608" y="211638"/>
                    <a:pt x="5916608" y="211638"/>
                    <a:pt x="5911316" y="216929"/>
                  </a:cubicBezTo>
                  <a:cubicBezTo>
                    <a:pt x="5911316" y="216929"/>
                    <a:pt x="5911316" y="216929"/>
                    <a:pt x="5879561" y="216929"/>
                  </a:cubicBezTo>
                  <a:cubicBezTo>
                    <a:pt x="5879561" y="216929"/>
                    <a:pt x="5879561" y="216929"/>
                    <a:pt x="5863683" y="195766"/>
                  </a:cubicBezTo>
                  <a:cubicBezTo>
                    <a:pt x="5863683" y="195766"/>
                    <a:pt x="5863683" y="195766"/>
                    <a:pt x="5858391" y="216929"/>
                  </a:cubicBezTo>
                  <a:cubicBezTo>
                    <a:pt x="5858391" y="216929"/>
                    <a:pt x="5858391" y="216929"/>
                    <a:pt x="5837221" y="206348"/>
                  </a:cubicBezTo>
                  <a:cubicBezTo>
                    <a:pt x="5837221" y="206348"/>
                    <a:pt x="5837221" y="206348"/>
                    <a:pt x="5816051" y="185185"/>
                  </a:cubicBezTo>
                  <a:cubicBezTo>
                    <a:pt x="5816051" y="185185"/>
                    <a:pt x="5816051" y="185185"/>
                    <a:pt x="5794881" y="201057"/>
                  </a:cubicBezTo>
                  <a:cubicBezTo>
                    <a:pt x="5794881" y="201057"/>
                    <a:pt x="5794881" y="201057"/>
                    <a:pt x="5773711" y="185185"/>
                  </a:cubicBezTo>
                  <a:cubicBezTo>
                    <a:pt x="5773711" y="185185"/>
                    <a:pt x="5773711" y="185185"/>
                    <a:pt x="5763126" y="158731"/>
                  </a:cubicBezTo>
                  <a:cubicBezTo>
                    <a:pt x="5763126" y="158731"/>
                    <a:pt x="5763126" y="158731"/>
                    <a:pt x="5757833" y="179894"/>
                  </a:cubicBezTo>
                  <a:cubicBezTo>
                    <a:pt x="5757833" y="179894"/>
                    <a:pt x="5757833" y="179894"/>
                    <a:pt x="5773711" y="206348"/>
                  </a:cubicBezTo>
                  <a:cubicBezTo>
                    <a:pt x="5773711" y="206348"/>
                    <a:pt x="5773711" y="206348"/>
                    <a:pt x="5773711" y="243383"/>
                  </a:cubicBezTo>
                  <a:cubicBezTo>
                    <a:pt x="5773711" y="243383"/>
                    <a:pt x="5773711" y="243383"/>
                    <a:pt x="5731371" y="269837"/>
                  </a:cubicBezTo>
                  <a:cubicBezTo>
                    <a:pt x="5731371" y="269837"/>
                    <a:pt x="5731371" y="269837"/>
                    <a:pt x="5768418" y="269837"/>
                  </a:cubicBezTo>
                  <a:cubicBezTo>
                    <a:pt x="5768418" y="269837"/>
                    <a:pt x="5768418" y="269837"/>
                    <a:pt x="5789588" y="301582"/>
                  </a:cubicBezTo>
                  <a:cubicBezTo>
                    <a:pt x="5789588" y="301582"/>
                    <a:pt x="5789588" y="301582"/>
                    <a:pt x="5805466" y="306872"/>
                  </a:cubicBezTo>
                  <a:cubicBezTo>
                    <a:pt x="5805466" y="306872"/>
                    <a:pt x="5805466" y="306872"/>
                    <a:pt x="5831928" y="317454"/>
                  </a:cubicBezTo>
                  <a:cubicBezTo>
                    <a:pt x="5831928" y="317454"/>
                    <a:pt x="5831928" y="317454"/>
                    <a:pt x="5831928" y="343907"/>
                  </a:cubicBezTo>
                  <a:cubicBezTo>
                    <a:pt x="5831928" y="343907"/>
                    <a:pt x="5831928" y="343907"/>
                    <a:pt x="5810758" y="338617"/>
                  </a:cubicBezTo>
                  <a:cubicBezTo>
                    <a:pt x="5810758" y="338617"/>
                    <a:pt x="5810758" y="338617"/>
                    <a:pt x="5784296" y="365070"/>
                  </a:cubicBezTo>
                  <a:cubicBezTo>
                    <a:pt x="5784296" y="365070"/>
                    <a:pt x="5784296" y="365070"/>
                    <a:pt x="5741956" y="465595"/>
                  </a:cubicBezTo>
                  <a:cubicBezTo>
                    <a:pt x="5741956" y="465595"/>
                    <a:pt x="5741956" y="465595"/>
                    <a:pt x="5741956" y="492049"/>
                  </a:cubicBezTo>
                  <a:cubicBezTo>
                    <a:pt x="5741956" y="492049"/>
                    <a:pt x="5741956" y="492049"/>
                    <a:pt x="5715493" y="476176"/>
                  </a:cubicBezTo>
                  <a:cubicBezTo>
                    <a:pt x="5715493" y="476176"/>
                    <a:pt x="5715493" y="476176"/>
                    <a:pt x="5694323" y="481467"/>
                  </a:cubicBezTo>
                  <a:cubicBezTo>
                    <a:pt x="5694323" y="481467"/>
                    <a:pt x="5694323" y="481467"/>
                    <a:pt x="5689031" y="497339"/>
                  </a:cubicBezTo>
                  <a:cubicBezTo>
                    <a:pt x="5689031" y="497339"/>
                    <a:pt x="5689031" y="497339"/>
                    <a:pt x="5678446" y="518502"/>
                  </a:cubicBezTo>
                  <a:cubicBezTo>
                    <a:pt x="5678446" y="518502"/>
                    <a:pt x="5678446" y="518502"/>
                    <a:pt x="5673154" y="481467"/>
                  </a:cubicBezTo>
                  <a:cubicBezTo>
                    <a:pt x="5673154" y="481467"/>
                    <a:pt x="5673154" y="481467"/>
                    <a:pt x="5662569" y="486758"/>
                  </a:cubicBezTo>
                  <a:cubicBezTo>
                    <a:pt x="5662569" y="486758"/>
                    <a:pt x="5662569" y="486758"/>
                    <a:pt x="5657276" y="529084"/>
                  </a:cubicBezTo>
                  <a:cubicBezTo>
                    <a:pt x="5657276" y="529084"/>
                    <a:pt x="5657276" y="529084"/>
                    <a:pt x="5636106" y="513212"/>
                  </a:cubicBezTo>
                  <a:cubicBezTo>
                    <a:pt x="5636106" y="513212"/>
                    <a:pt x="5636106" y="513212"/>
                    <a:pt x="5620229" y="523793"/>
                  </a:cubicBezTo>
                  <a:cubicBezTo>
                    <a:pt x="5620229" y="523793"/>
                    <a:pt x="5620229" y="523793"/>
                    <a:pt x="5636106" y="576701"/>
                  </a:cubicBezTo>
                  <a:cubicBezTo>
                    <a:pt x="5636106" y="576701"/>
                    <a:pt x="5636106" y="576701"/>
                    <a:pt x="5636106" y="603155"/>
                  </a:cubicBezTo>
                  <a:cubicBezTo>
                    <a:pt x="5636106" y="603155"/>
                    <a:pt x="5636106" y="603155"/>
                    <a:pt x="5641399" y="613736"/>
                  </a:cubicBezTo>
                  <a:cubicBezTo>
                    <a:pt x="5641399" y="613736"/>
                    <a:pt x="5641399" y="613736"/>
                    <a:pt x="5657276" y="608445"/>
                  </a:cubicBezTo>
                  <a:cubicBezTo>
                    <a:pt x="5657276" y="608445"/>
                    <a:pt x="5657276" y="608445"/>
                    <a:pt x="5667861" y="624318"/>
                  </a:cubicBezTo>
                  <a:cubicBezTo>
                    <a:pt x="5667861" y="624318"/>
                    <a:pt x="5678446" y="645481"/>
                    <a:pt x="5678446" y="645481"/>
                  </a:cubicBezTo>
                  <a:cubicBezTo>
                    <a:pt x="5683739" y="645481"/>
                    <a:pt x="5689031" y="650771"/>
                    <a:pt x="5689031" y="650771"/>
                  </a:cubicBezTo>
                  <a:cubicBezTo>
                    <a:pt x="5689031" y="650771"/>
                    <a:pt x="5689031" y="650771"/>
                    <a:pt x="5704908" y="671935"/>
                  </a:cubicBezTo>
                  <a:cubicBezTo>
                    <a:pt x="5704908" y="671935"/>
                    <a:pt x="5704908" y="671935"/>
                    <a:pt x="5699616" y="677225"/>
                  </a:cubicBezTo>
                  <a:cubicBezTo>
                    <a:pt x="5699616" y="677225"/>
                    <a:pt x="5699616" y="677225"/>
                    <a:pt x="5683739" y="661353"/>
                  </a:cubicBezTo>
                  <a:cubicBezTo>
                    <a:pt x="5683739" y="661353"/>
                    <a:pt x="5683739" y="661353"/>
                    <a:pt x="5683739" y="682516"/>
                  </a:cubicBezTo>
                  <a:cubicBezTo>
                    <a:pt x="5683739" y="682516"/>
                    <a:pt x="5683739" y="682516"/>
                    <a:pt x="5699616" y="730133"/>
                  </a:cubicBezTo>
                  <a:cubicBezTo>
                    <a:pt x="5699616" y="730133"/>
                    <a:pt x="5699616" y="730133"/>
                    <a:pt x="5689031" y="746005"/>
                  </a:cubicBezTo>
                  <a:cubicBezTo>
                    <a:pt x="5689031" y="746005"/>
                    <a:pt x="5689031" y="746005"/>
                    <a:pt x="5673154" y="746005"/>
                  </a:cubicBezTo>
                  <a:cubicBezTo>
                    <a:pt x="5673154" y="746005"/>
                    <a:pt x="5673154" y="746005"/>
                    <a:pt x="5678446" y="777750"/>
                  </a:cubicBezTo>
                  <a:cubicBezTo>
                    <a:pt x="5678446" y="777750"/>
                    <a:pt x="5678446" y="777750"/>
                    <a:pt x="5667861" y="793622"/>
                  </a:cubicBezTo>
                  <a:cubicBezTo>
                    <a:pt x="5667861" y="793622"/>
                    <a:pt x="5667861" y="793622"/>
                    <a:pt x="5683739" y="825367"/>
                  </a:cubicBezTo>
                  <a:cubicBezTo>
                    <a:pt x="5683739" y="825367"/>
                    <a:pt x="5683739" y="825367"/>
                    <a:pt x="5678446" y="846530"/>
                  </a:cubicBezTo>
                  <a:cubicBezTo>
                    <a:pt x="5678446" y="846530"/>
                    <a:pt x="5678446" y="846530"/>
                    <a:pt x="5678446" y="878274"/>
                  </a:cubicBezTo>
                  <a:cubicBezTo>
                    <a:pt x="5678446" y="878274"/>
                    <a:pt x="5678446" y="878274"/>
                    <a:pt x="5662569" y="862402"/>
                  </a:cubicBezTo>
                  <a:cubicBezTo>
                    <a:pt x="5662569" y="862402"/>
                    <a:pt x="5662569" y="862402"/>
                    <a:pt x="5620229" y="793622"/>
                  </a:cubicBezTo>
                  <a:cubicBezTo>
                    <a:pt x="5620229" y="793622"/>
                    <a:pt x="5620229" y="793622"/>
                    <a:pt x="5567304" y="719551"/>
                  </a:cubicBezTo>
                  <a:cubicBezTo>
                    <a:pt x="5567304" y="719551"/>
                    <a:pt x="5567304" y="719551"/>
                    <a:pt x="5556719" y="687807"/>
                  </a:cubicBezTo>
                  <a:cubicBezTo>
                    <a:pt x="5556719" y="687807"/>
                    <a:pt x="5556719" y="687807"/>
                    <a:pt x="5567304" y="666644"/>
                  </a:cubicBezTo>
                  <a:cubicBezTo>
                    <a:pt x="5567304" y="666644"/>
                    <a:pt x="5567304" y="666644"/>
                    <a:pt x="5551426" y="645481"/>
                  </a:cubicBezTo>
                  <a:cubicBezTo>
                    <a:pt x="5551426" y="645481"/>
                    <a:pt x="5551426" y="645481"/>
                    <a:pt x="5562011" y="640190"/>
                  </a:cubicBezTo>
                  <a:cubicBezTo>
                    <a:pt x="5562011" y="640190"/>
                    <a:pt x="5562011" y="640190"/>
                    <a:pt x="5583181" y="581992"/>
                  </a:cubicBezTo>
                  <a:cubicBezTo>
                    <a:pt x="5583181" y="581992"/>
                    <a:pt x="5583181" y="581992"/>
                    <a:pt x="5588474" y="507921"/>
                  </a:cubicBezTo>
                  <a:cubicBezTo>
                    <a:pt x="5588474" y="507921"/>
                    <a:pt x="5588474" y="507921"/>
                    <a:pt x="5609644" y="497339"/>
                  </a:cubicBezTo>
                  <a:cubicBezTo>
                    <a:pt x="5609644" y="497339"/>
                    <a:pt x="5609644" y="497339"/>
                    <a:pt x="5604351" y="465595"/>
                  </a:cubicBezTo>
                  <a:cubicBezTo>
                    <a:pt x="5604351" y="465595"/>
                    <a:pt x="5604351" y="465595"/>
                    <a:pt x="5593766" y="439141"/>
                  </a:cubicBezTo>
                  <a:cubicBezTo>
                    <a:pt x="5593766" y="439141"/>
                    <a:pt x="5593766" y="439141"/>
                    <a:pt x="5609644" y="417978"/>
                  </a:cubicBezTo>
                  <a:cubicBezTo>
                    <a:pt x="5609644" y="417978"/>
                    <a:pt x="5609644" y="417978"/>
                    <a:pt x="5583181" y="423269"/>
                  </a:cubicBezTo>
                  <a:cubicBezTo>
                    <a:pt x="5583181" y="423269"/>
                    <a:pt x="5583181" y="423269"/>
                    <a:pt x="5572596" y="444432"/>
                  </a:cubicBezTo>
                  <a:cubicBezTo>
                    <a:pt x="5572596" y="444432"/>
                    <a:pt x="5572596" y="444432"/>
                    <a:pt x="5588474" y="455013"/>
                  </a:cubicBezTo>
                  <a:cubicBezTo>
                    <a:pt x="5588474" y="455013"/>
                    <a:pt x="5588474" y="455013"/>
                    <a:pt x="5588474" y="470886"/>
                  </a:cubicBezTo>
                  <a:cubicBezTo>
                    <a:pt x="5588474" y="470886"/>
                    <a:pt x="5588474" y="470886"/>
                    <a:pt x="5572596" y="476176"/>
                  </a:cubicBezTo>
                  <a:cubicBezTo>
                    <a:pt x="5572596" y="476176"/>
                    <a:pt x="5572596" y="476176"/>
                    <a:pt x="5572596" y="502630"/>
                  </a:cubicBezTo>
                  <a:cubicBezTo>
                    <a:pt x="5572596" y="502630"/>
                    <a:pt x="5572596" y="502630"/>
                    <a:pt x="5562011" y="518502"/>
                  </a:cubicBezTo>
                  <a:cubicBezTo>
                    <a:pt x="5562011" y="518502"/>
                    <a:pt x="5562011" y="518502"/>
                    <a:pt x="5535549" y="497339"/>
                  </a:cubicBezTo>
                  <a:cubicBezTo>
                    <a:pt x="5535549" y="497339"/>
                    <a:pt x="5524964" y="460304"/>
                    <a:pt x="5524964" y="460304"/>
                  </a:cubicBezTo>
                  <a:cubicBezTo>
                    <a:pt x="5524964" y="455013"/>
                    <a:pt x="5482624" y="507921"/>
                    <a:pt x="5482624" y="507921"/>
                  </a:cubicBezTo>
                  <a:cubicBezTo>
                    <a:pt x="5482624" y="507921"/>
                    <a:pt x="5482624" y="507921"/>
                    <a:pt x="5482624" y="550247"/>
                  </a:cubicBezTo>
                  <a:cubicBezTo>
                    <a:pt x="5482624" y="550247"/>
                    <a:pt x="5482624" y="550247"/>
                    <a:pt x="5482624" y="581992"/>
                  </a:cubicBezTo>
                  <a:cubicBezTo>
                    <a:pt x="5482624" y="581992"/>
                    <a:pt x="5482624" y="581992"/>
                    <a:pt x="5509086" y="587282"/>
                  </a:cubicBezTo>
                  <a:cubicBezTo>
                    <a:pt x="5509086" y="587282"/>
                    <a:pt x="5509086" y="587282"/>
                    <a:pt x="5487916" y="608445"/>
                  </a:cubicBezTo>
                  <a:cubicBezTo>
                    <a:pt x="5487916" y="608445"/>
                    <a:pt x="5487916" y="608445"/>
                    <a:pt x="5445576" y="624318"/>
                  </a:cubicBezTo>
                  <a:cubicBezTo>
                    <a:pt x="5445576" y="624318"/>
                    <a:pt x="5445576" y="624318"/>
                    <a:pt x="5424406" y="608445"/>
                  </a:cubicBezTo>
                  <a:cubicBezTo>
                    <a:pt x="5424406" y="608445"/>
                    <a:pt x="5424406" y="608445"/>
                    <a:pt x="5392651" y="608445"/>
                  </a:cubicBezTo>
                  <a:cubicBezTo>
                    <a:pt x="5392651" y="608445"/>
                    <a:pt x="5392651" y="608445"/>
                    <a:pt x="5387359" y="629608"/>
                  </a:cubicBezTo>
                  <a:cubicBezTo>
                    <a:pt x="5387359" y="629608"/>
                    <a:pt x="5387359" y="629608"/>
                    <a:pt x="5360896" y="640190"/>
                  </a:cubicBezTo>
                  <a:cubicBezTo>
                    <a:pt x="5360896" y="640190"/>
                    <a:pt x="5360896" y="640190"/>
                    <a:pt x="5313264" y="640190"/>
                  </a:cubicBezTo>
                  <a:cubicBezTo>
                    <a:pt x="5313264" y="640190"/>
                    <a:pt x="5313264" y="640190"/>
                    <a:pt x="5281509" y="656062"/>
                  </a:cubicBezTo>
                  <a:cubicBezTo>
                    <a:pt x="5281509" y="656062"/>
                    <a:pt x="5281509" y="656062"/>
                    <a:pt x="5265631" y="746005"/>
                  </a:cubicBezTo>
                  <a:cubicBezTo>
                    <a:pt x="5265631" y="746005"/>
                    <a:pt x="5265631" y="746005"/>
                    <a:pt x="5255046" y="788331"/>
                  </a:cubicBezTo>
                  <a:cubicBezTo>
                    <a:pt x="5255046" y="788331"/>
                    <a:pt x="5255046" y="788331"/>
                    <a:pt x="5244461" y="820076"/>
                  </a:cubicBezTo>
                  <a:cubicBezTo>
                    <a:pt x="5244461" y="820076"/>
                    <a:pt x="5244461" y="820076"/>
                    <a:pt x="5223291" y="846530"/>
                  </a:cubicBezTo>
                  <a:cubicBezTo>
                    <a:pt x="5223291" y="846530"/>
                    <a:pt x="5223291" y="846530"/>
                    <a:pt x="5249754" y="846530"/>
                  </a:cubicBezTo>
                  <a:cubicBezTo>
                    <a:pt x="5249754" y="846530"/>
                    <a:pt x="5249754" y="846530"/>
                    <a:pt x="5286801" y="867693"/>
                  </a:cubicBezTo>
                  <a:cubicBezTo>
                    <a:pt x="5286801" y="867693"/>
                    <a:pt x="5286801" y="867693"/>
                    <a:pt x="5302679" y="862402"/>
                  </a:cubicBezTo>
                  <a:cubicBezTo>
                    <a:pt x="5302679" y="862402"/>
                    <a:pt x="5302679" y="862402"/>
                    <a:pt x="5297386" y="841239"/>
                  </a:cubicBezTo>
                  <a:cubicBezTo>
                    <a:pt x="5297386" y="841239"/>
                    <a:pt x="5297386" y="841239"/>
                    <a:pt x="5318556" y="841239"/>
                  </a:cubicBezTo>
                  <a:cubicBezTo>
                    <a:pt x="5318556" y="841239"/>
                    <a:pt x="5318556" y="841239"/>
                    <a:pt x="5355604" y="867693"/>
                  </a:cubicBezTo>
                  <a:cubicBezTo>
                    <a:pt x="5355604" y="867693"/>
                    <a:pt x="5355604" y="867693"/>
                    <a:pt x="5366189" y="894147"/>
                  </a:cubicBezTo>
                  <a:cubicBezTo>
                    <a:pt x="5366189" y="894147"/>
                    <a:pt x="5366189" y="894147"/>
                    <a:pt x="5387359" y="910019"/>
                  </a:cubicBezTo>
                  <a:cubicBezTo>
                    <a:pt x="5387359" y="910019"/>
                    <a:pt x="5387359" y="910019"/>
                    <a:pt x="5387359" y="941764"/>
                  </a:cubicBezTo>
                  <a:cubicBezTo>
                    <a:pt x="5387359" y="941764"/>
                    <a:pt x="5387359" y="941764"/>
                    <a:pt x="5419114" y="1036997"/>
                  </a:cubicBezTo>
                  <a:cubicBezTo>
                    <a:pt x="5419114" y="1036997"/>
                    <a:pt x="5419114" y="1036997"/>
                    <a:pt x="5403236" y="1089905"/>
                  </a:cubicBezTo>
                  <a:cubicBezTo>
                    <a:pt x="5403236" y="1089905"/>
                    <a:pt x="5403236" y="1089905"/>
                    <a:pt x="5403236" y="1111068"/>
                  </a:cubicBezTo>
                  <a:cubicBezTo>
                    <a:pt x="5403236" y="1111068"/>
                    <a:pt x="5403236" y="1111068"/>
                    <a:pt x="5397944" y="1169266"/>
                  </a:cubicBezTo>
                  <a:cubicBezTo>
                    <a:pt x="5397944" y="1169266"/>
                    <a:pt x="5397944" y="1169266"/>
                    <a:pt x="5376774" y="1222174"/>
                  </a:cubicBezTo>
                  <a:cubicBezTo>
                    <a:pt x="5376774" y="1222174"/>
                    <a:pt x="5376774" y="1222174"/>
                    <a:pt x="5345019" y="1232755"/>
                  </a:cubicBezTo>
                  <a:cubicBezTo>
                    <a:pt x="5345019" y="1232755"/>
                    <a:pt x="5345019" y="1232755"/>
                    <a:pt x="5329141" y="1216883"/>
                  </a:cubicBezTo>
                  <a:cubicBezTo>
                    <a:pt x="5329141" y="1216883"/>
                    <a:pt x="5329141" y="1216883"/>
                    <a:pt x="5318556" y="1232755"/>
                  </a:cubicBezTo>
                  <a:cubicBezTo>
                    <a:pt x="5318556" y="1232755"/>
                    <a:pt x="5318556" y="1232755"/>
                    <a:pt x="5329141" y="1238046"/>
                  </a:cubicBezTo>
                  <a:cubicBezTo>
                    <a:pt x="5329141" y="1238046"/>
                    <a:pt x="5329141" y="1238046"/>
                    <a:pt x="5318556" y="1248628"/>
                  </a:cubicBezTo>
                  <a:cubicBezTo>
                    <a:pt x="5318556" y="1248628"/>
                    <a:pt x="5318556" y="1248628"/>
                    <a:pt x="5313264" y="1275081"/>
                  </a:cubicBezTo>
                  <a:cubicBezTo>
                    <a:pt x="5313264" y="1275081"/>
                    <a:pt x="5313264" y="1275081"/>
                    <a:pt x="5313264" y="1296245"/>
                  </a:cubicBezTo>
                  <a:cubicBezTo>
                    <a:pt x="5313264" y="1296245"/>
                    <a:pt x="5313264" y="1296245"/>
                    <a:pt x="5297386" y="1317408"/>
                  </a:cubicBezTo>
                  <a:cubicBezTo>
                    <a:pt x="5297386" y="1317408"/>
                    <a:pt x="5297386" y="1317408"/>
                    <a:pt x="5297386" y="1338571"/>
                  </a:cubicBezTo>
                  <a:cubicBezTo>
                    <a:pt x="5297386" y="1338571"/>
                    <a:pt x="5297386" y="1338571"/>
                    <a:pt x="5323849" y="1359734"/>
                  </a:cubicBezTo>
                  <a:cubicBezTo>
                    <a:pt x="5323849" y="1359734"/>
                    <a:pt x="5323849" y="1359734"/>
                    <a:pt x="5366189" y="1402060"/>
                  </a:cubicBezTo>
                  <a:cubicBezTo>
                    <a:pt x="5366189" y="1402060"/>
                    <a:pt x="5366189" y="1402060"/>
                    <a:pt x="5366189" y="1433804"/>
                  </a:cubicBezTo>
                  <a:cubicBezTo>
                    <a:pt x="5366189" y="1433804"/>
                    <a:pt x="5366189" y="1433804"/>
                    <a:pt x="5350311" y="1465549"/>
                  </a:cubicBezTo>
                  <a:cubicBezTo>
                    <a:pt x="5350311" y="1465549"/>
                    <a:pt x="5350311" y="1465549"/>
                    <a:pt x="5318556" y="1476130"/>
                  </a:cubicBezTo>
                  <a:cubicBezTo>
                    <a:pt x="5318556" y="1476130"/>
                    <a:pt x="5318556" y="1476130"/>
                    <a:pt x="5307971" y="1465549"/>
                  </a:cubicBezTo>
                  <a:cubicBezTo>
                    <a:pt x="5307971" y="1465549"/>
                    <a:pt x="5307971" y="1465549"/>
                    <a:pt x="5302679" y="1439095"/>
                  </a:cubicBezTo>
                  <a:cubicBezTo>
                    <a:pt x="5302679" y="1439095"/>
                    <a:pt x="5302679" y="1439095"/>
                    <a:pt x="5297386" y="1412641"/>
                  </a:cubicBezTo>
                  <a:cubicBezTo>
                    <a:pt x="5297386" y="1412641"/>
                    <a:pt x="5297386" y="1412641"/>
                    <a:pt x="5297386" y="1396769"/>
                  </a:cubicBezTo>
                  <a:cubicBezTo>
                    <a:pt x="5297386" y="1396769"/>
                    <a:pt x="5297386" y="1396769"/>
                    <a:pt x="5281509" y="1391478"/>
                  </a:cubicBezTo>
                  <a:cubicBezTo>
                    <a:pt x="5281509" y="1391478"/>
                    <a:pt x="5281509" y="1391478"/>
                    <a:pt x="5255046" y="1380897"/>
                  </a:cubicBezTo>
                  <a:cubicBezTo>
                    <a:pt x="5255046" y="1380897"/>
                    <a:pt x="5255046" y="1380897"/>
                    <a:pt x="5249754" y="1354443"/>
                  </a:cubicBezTo>
                  <a:cubicBezTo>
                    <a:pt x="5249754" y="1354443"/>
                    <a:pt x="5249754" y="1354443"/>
                    <a:pt x="5255046" y="1338571"/>
                  </a:cubicBezTo>
                  <a:cubicBezTo>
                    <a:pt x="5255046" y="1338571"/>
                    <a:pt x="5255046" y="1338571"/>
                    <a:pt x="5233876" y="1333280"/>
                  </a:cubicBezTo>
                  <a:cubicBezTo>
                    <a:pt x="5233876" y="1333280"/>
                    <a:pt x="5233876" y="1333280"/>
                    <a:pt x="5202122" y="1343861"/>
                  </a:cubicBezTo>
                  <a:cubicBezTo>
                    <a:pt x="5202122" y="1343861"/>
                    <a:pt x="5202122" y="1343861"/>
                    <a:pt x="5186244" y="1359734"/>
                  </a:cubicBezTo>
                  <a:cubicBezTo>
                    <a:pt x="5186244" y="1359734"/>
                    <a:pt x="5186244" y="1359734"/>
                    <a:pt x="5175659" y="1343861"/>
                  </a:cubicBezTo>
                  <a:cubicBezTo>
                    <a:pt x="5175659" y="1343861"/>
                    <a:pt x="5175659" y="1343861"/>
                    <a:pt x="5180952" y="1322698"/>
                  </a:cubicBezTo>
                  <a:cubicBezTo>
                    <a:pt x="5180952" y="1322698"/>
                    <a:pt x="5180952" y="1322698"/>
                    <a:pt x="5180952" y="1306826"/>
                  </a:cubicBezTo>
                  <a:cubicBezTo>
                    <a:pt x="5180952" y="1306826"/>
                    <a:pt x="5180952" y="1306826"/>
                    <a:pt x="5159782" y="1317408"/>
                  </a:cubicBezTo>
                  <a:cubicBezTo>
                    <a:pt x="5159782" y="1317408"/>
                    <a:pt x="5159782" y="1317408"/>
                    <a:pt x="5143904" y="1338571"/>
                  </a:cubicBezTo>
                  <a:cubicBezTo>
                    <a:pt x="5143904" y="1338571"/>
                    <a:pt x="5143904" y="1338571"/>
                    <a:pt x="5133319" y="1349152"/>
                  </a:cubicBezTo>
                  <a:cubicBezTo>
                    <a:pt x="5133319" y="1349152"/>
                    <a:pt x="5133319" y="1349152"/>
                    <a:pt x="5133319" y="1365024"/>
                  </a:cubicBezTo>
                  <a:cubicBezTo>
                    <a:pt x="5133319" y="1365024"/>
                    <a:pt x="5133319" y="1365024"/>
                    <a:pt x="5112149" y="1359734"/>
                  </a:cubicBezTo>
                  <a:cubicBezTo>
                    <a:pt x="5112149" y="1359734"/>
                    <a:pt x="5112149" y="1359734"/>
                    <a:pt x="5106857" y="1370315"/>
                  </a:cubicBezTo>
                  <a:cubicBezTo>
                    <a:pt x="5106857" y="1370315"/>
                    <a:pt x="5106857" y="1370315"/>
                    <a:pt x="5122734" y="1396769"/>
                  </a:cubicBezTo>
                  <a:cubicBezTo>
                    <a:pt x="5122734" y="1396769"/>
                    <a:pt x="5122734" y="1396769"/>
                    <a:pt x="5133319" y="1412641"/>
                  </a:cubicBezTo>
                  <a:cubicBezTo>
                    <a:pt x="5133319" y="1412641"/>
                    <a:pt x="5133319" y="1412641"/>
                    <a:pt x="5170367" y="1412641"/>
                  </a:cubicBezTo>
                  <a:cubicBezTo>
                    <a:pt x="5170367" y="1412641"/>
                    <a:pt x="5170367" y="1412641"/>
                    <a:pt x="5180952" y="1391478"/>
                  </a:cubicBezTo>
                  <a:cubicBezTo>
                    <a:pt x="5180952" y="1391478"/>
                    <a:pt x="5180952" y="1391478"/>
                    <a:pt x="5196829" y="1402060"/>
                  </a:cubicBezTo>
                  <a:cubicBezTo>
                    <a:pt x="5196829" y="1402060"/>
                    <a:pt x="5196829" y="1402060"/>
                    <a:pt x="5223291" y="1396769"/>
                  </a:cubicBezTo>
                  <a:cubicBezTo>
                    <a:pt x="5223291" y="1396769"/>
                    <a:pt x="5223291" y="1396769"/>
                    <a:pt x="5223291" y="1417932"/>
                  </a:cubicBezTo>
                  <a:cubicBezTo>
                    <a:pt x="5223291" y="1417932"/>
                    <a:pt x="5223291" y="1417932"/>
                    <a:pt x="5196829" y="1423223"/>
                  </a:cubicBezTo>
                  <a:cubicBezTo>
                    <a:pt x="5196829" y="1423223"/>
                    <a:pt x="5196829" y="1423223"/>
                    <a:pt x="5175659" y="1449677"/>
                  </a:cubicBezTo>
                  <a:cubicBezTo>
                    <a:pt x="5175659" y="1449677"/>
                    <a:pt x="5180952" y="1481421"/>
                    <a:pt x="5180952" y="1481421"/>
                  </a:cubicBezTo>
                  <a:cubicBezTo>
                    <a:pt x="5180952" y="1486712"/>
                    <a:pt x="5217999" y="1523747"/>
                    <a:pt x="5217999" y="1523747"/>
                  </a:cubicBezTo>
                  <a:cubicBezTo>
                    <a:pt x="5217999" y="1523747"/>
                    <a:pt x="5217999" y="1523747"/>
                    <a:pt x="5233876" y="1534329"/>
                  </a:cubicBezTo>
                  <a:cubicBezTo>
                    <a:pt x="5233876" y="1534329"/>
                    <a:pt x="5233876" y="1534329"/>
                    <a:pt x="5260339" y="1566073"/>
                  </a:cubicBezTo>
                  <a:cubicBezTo>
                    <a:pt x="5260339" y="1566073"/>
                    <a:pt x="5260339" y="1566073"/>
                    <a:pt x="5244461" y="1597818"/>
                  </a:cubicBezTo>
                  <a:cubicBezTo>
                    <a:pt x="5244461" y="1597818"/>
                    <a:pt x="5244461" y="1597818"/>
                    <a:pt x="5270924" y="1597818"/>
                  </a:cubicBezTo>
                  <a:cubicBezTo>
                    <a:pt x="5270924" y="1597818"/>
                    <a:pt x="5270924" y="1597818"/>
                    <a:pt x="5270924" y="1640144"/>
                  </a:cubicBezTo>
                  <a:cubicBezTo>
                    <a:pt x="5270924" y="1640144"/>
                    <a:pt x="5270924" y="1640144"/>
                    <a:pt x="5255046" y="1666598"/>
                  </a:cubicBezTo>
                  <a:cubicBezTo>
                    <a:pt x="5255046" y="1666598"/>
                    <a:pt x="5255046" y="1666598"/>
                    <a:pt x="5255046" y="1698342"/>
                  </a:cubicBezTo>
                  <a:cubicBezTo>
                    <a:pt x="5255046" y="1698342"/>
                    <a:pt x="5255046" y="1698342"/>
                    <a:pt x="5223291" y="1761831"/>
                  </a:cubicBezTo>
                  <a:cubicBezTo>
                    <a:pt x="5223291" y="1761831"/>
                    <a:pt x="5223291" y="1761831"/>
                    <a:pt x="5186244" y="1798867"/>
                  </a:cubicBezTo>
                  <a:cubicBezTo>
                    <a:pt x="5186244" y="1798867"/>
                    <a:pt x="5186244" y="1798867"/>
                    <a:pt x="5101564" y="1835902"/>
                  </a:cubicBezTo>
                  <a:cubicBezTo>
                    <a:pt x="5101564" y="1835902"/>
                    <a:pt x="5101564" y="1835902"/>
                    <a:pt x="5085687" y="1857065"/>
                  </a:cubicBezTo>
                  <a:cubicBezTo>
                    <a:pt x="5085687" y="1857065"/>
                    <a:pt x="5085687" y="1857065"/>
                    <a:pt x="5096272" y="1883519"/>
                  </a:cubicBezTo>
                  <a:cubicBezTo>
                    <a:pt x="5096272" y="1883519"/>
                    <a:pt x="5096272" y="1883519"/>
                    <a:pt x="5112149" y="1899391"/>
                  </a:cubicBezTo>
                  <a:cubicBezTo>
                    <a:pt x="5112149" y="1899391"/>
                    <a:pt x="5112149" y="1899391"/>
                    <a:pt x="5096272" y="1931136"/>
                  </a:cubicBezTo>
                  <a:cubicBezTo>
                    <a:pt x="5096272" y="1931136"/>
                    <a:pt x="5096272" y="1931136"/>
                    <a:pt x="5075102" y="1925845"/>
                  </a:cubicBezTo>
                  <a:cubicBezTo>
                    <a:pt x="5075102" y="1925845"/>
                    <a:pt x="5075102" y="1925845"/>
                    <a:pt x="5064517" y="1899391"/>
                  </a:cubicBezTo>
                  <a:cubicBezTo>
                    <a:pt x="5064517" y="1899391"/>
                    <a:pt x="5064517" y="1899391"/>
                    <a:pt x="5075102" y="1883519"/>
                  </a:cubicBezTo>
                  <a:cubicBezTo>
                    <a:pt x="5075102" y="1883519"/>
                    <a:pt x="5075102" y="1883519"/>
                    <a:pt x="5075102" y="1851774"/>
                  </a:cubicBezTo>
                  <a:cubicBezTo>
                    <a:pt x="5075102" y="1851774"/>
                    <a:pt x="5075102" y="1851774"/>
                    <a:pt x="5064517" y="1835902"/>
                  </a:cubicBezTo>
                  <a:cubicBezTo>
                    <a:pt x="5064517" y="1835902"/>
                    <a:pt x="5064517" y="1835902"/>
                    <a:pt x="5032762" y="1841193"/>
                  </a:cubicBezTo>
                  <a:cubicBezTo>
                    <a:pt x="5032762" y="1841193"/>
                    <a:pt x="5032762" y="1841193"/>
                    <a:pt x="5022177" y="1867647"/>
                  </a:cubicBezTo>
                  <a:cubicBezTo>
                    <a:pt x="5022177" y="1867647"/>
                    <a:pt x="5022177" y="1867647"/>
                    <a:pt x="5001007" y="1878228"/>
                  </a:cubicBezTo>
                  <a:cubicBezTo>
                    <a:pt x="5001007" y="1878228"/>
                    <a:pt x="5001007" y="1878228"/>
                    <a:pt x="5001007" y="1909973"/>
                  </a:cubicBezTo>
                  <a:cubicBezTo>
                    <a:pt x="5001007" y="1909973"/>
                    <a:pt x="5001007" y="1909973"/>
                    <a:pt x="5022177" y="1936426"/>
                  </a:cubicBezTo>
                  <a:cubicBezTo>
                    <a:pt x="5022177" y="1936426"/>
                    <a:pt x="5022177" y="1936426"/>
                    <a:pt x="5032762" y="1957589"/>
                  </a:cubicBezTo>
                  <a:cubicBezTo>
                    <a:pt x="5032762" y="1957589"/>
                    <a:pt x="5032762" y="1957589"/>
                    <a:pt x="5048639" y="1962880"/>
                  </a:cubicBezTo>
                  <a:cubicBezTo>
                    <a:pt x="5048639" y="1962880"/>
                    <a:pt x="5048639" y="1962880"/>
                    <a:pt x="5085687" y="2005206"/>
                  </a:cubicBezTo>
                  <a:cubicBezTo>
                    <a:pt x="5085687" y="2005206"/>
                    <a:pt x="5085687" y="2005206"/>
                    <a:pt x="5096272" y="2052823"/>
                  </a:cubicBezTo>
                  <a:cubicBezTo>
                    <a:pt x="5096272" y="2052823"/>
                    <a:pt x="5096272" y="2052823"/>
                    <a:pt x="5096272" y="2095149"/>
                  </a:cubicBezTo>
                  <a:cubicBezTo>
                    <a:pt x="5096272" y="2095149"/>
                    <a:pt x="5096272" y="2095149"/>
                    <a:pt x="5075102" y="2111022"/>
                  </a:cubicBezTo>
                  <a:cubicBezTo>
                    <a:pt x="5075102" y="2111022"/>
                    <a:pt x="5075102" y="2111022"/>
                    <a:pt x="5048639" y="2121603"/>
                  </a:cubicBezTo>
                  <a:cubicBezTo>
                    <a:pt x="5048639" y="2121603"/>
                    <a:pt x="5048639" y="2121603"/>
                    <a:pt x="5043347" y="2142766"/>
                  </a:cubicBezTo>
                  <a:cubicBezTo>
                    <a:pt x="5043347" y="2142766"/>
                    <a:pt x="5043347" y="2142766"/>
                    <a:pt x="5016884" y="2163929"/>
                  </a:cubicBezTo>
                  <a:cubicBezTo>
                    <a:pt x="5016884" y="2163929"/>
                    <a:pt x="5016884" y="2163929"/>
                    <a:pt x="5001007" y="2148057"/>
                  </a:cubicBezTo>
                  <a:cubicBezTo>
                    <a:pt x="5001007" y="2148057"/>
                    <a:pt x="5001007" y="2148057"/>
                    <a:pt x="5001007" y="2126894"/>
                  </a:cubicBezTo>
                  <a:cubicBezTo>
                    <a:pt x="5001007" y="2126894"/>
                    <a:pt x="5001007" y="2126894"/>
                    <a:pt x="4990422" y="2111022"/>
                  </a:cubicBezTo>
                  <a:cubicBezTo>
                    <a:pt x="4990422" y="2111022"/>
                    <a:pt x="4990422" y="2111022"/>
                    <a:pt x="4974544" y="2105731"/>
                  </a:cubicBezTo>
                  <a:cubicBezTo>
                    <a:pt x="4974544" y="2105731"/>
                    <a:pt x="4974544" y="2105731"/>
                    <a:pt x="4969252" y="2079277"/>
                  </a:cubicBezTo>
                  <a:cubicBezTo>
                    <a:pt x="4969252" y="2079277"/>
                    <a:pt x="4942789" y="2063405"/>
                    <a:pt x="4942789" y="2063405"/>
                  </a:cubicBezTo>
                  <a:cubicBezTo>
                    <a:pt x="4942789" y="2068695"/>
                    <a:pt x="4926912" y="2063405"/>
                    <a:pt x="4926912" y="2063405"/>
                  </a:cubicBezTo>
                  <a:cubicBezTo>
                    <a:pt x="4926912" y="2063405"/>
                    <a:pt x="4926912" y="2063405"/>
                    <a:pt x="4921619" y="2042242"/>
                  </a:cubicBezTo>
                  <a:cubicBezTo>
                    <a:pt x="4921619" y="2042242"/>
                    <a:pt x="4921619" y="2042242"/>
                    <a:pt x="4911035" y="2031660"/>
                  </a:cubicBezTo>
                  <a:cubicBezTo>
                    <a:pt x="4911035" y="2031660"/>
                    <a:pt x="4911035" y="2031660"/>
                    <a:pt x="4900450" y="2047532"/>
                  </a:cubicBezTo>
                  <a:cubicBezTo>
                    <a:pt x="4900450" y="2047532"/>
                    <a:pt x="4900450" y="2047532"/>
                    <a:pt x="4905742" y="2073986"/>
                  </a:cubicBezTo>
                  <a:cubicBezTo>
                    <a:pt x="4905742" y="2073986"/>
                    <a:pt x="4905742" y="2073986"/>
                    <a:pt x="4900450" y="2105731"/>
                  </a:cubicBezTo>
                  <a:cubicBezTo>
                    <a:pt x="4900450" y="2105731"/>
                    <a:pt x="4900450" y="2105731"/>
                    <a:pt x="4900450" y="2137475"/>
                  </a:cubicBezTo>
                  <a:cubicBezTo>
                    <a:pt x="4900450" y="2137475"/>
                    <a:pt x="4900450" y="2137475"/>
                    <a:pt x="4926912" y="2185092"/>
                  </a:cubicBezTo>
                  <a:cubicBezTo>
                    <a:pt x="4926912" y="2185092"/>
                    <a:pt x="4926912" y="2185092"/>
                    <a:pt x="4958667" y="2222127"/>
                  </a:cubicBezTo>
                  <a:cubicBezTo>
                    <a:pt x="4958667" y="2222127"/>
                    <a:pt x="4958667" y="2222127"/>
                    <a:pt x="4985129" y="2248581"/>
                  </a:cubicBezTo>
                  <a:cubicBezTo>
                    <a:pt x="4985129" y="2248581"/>
                    <a:pt x="4985129" y="2248581"/>
                    <a:pt x="4985129" y="2285617"/>
                  </a:cubicBezTo>
                  <a:cubicBezTo>
                    <a:pt x="4985129" y="2285617"/>
                    <a:pt x="4985129" y="2285617"/>
                    <a:pt x="5001007" y="2333233"/>
                  </a:cubicBezTo>
                  <a:cubicBezTo>
                    <a:pt x="5001007" y="2333233"/>
                    <a:pt x="5001007" y="2333233"/>
                    <a:pt x="4995714" y="2338524"/>
                  </a:cubicBezTo>
                  <a:cubicBezTo>
                    <a:pt x="4995714" y="2338524"/>
                    <a:pt x="4995714" y="2338524"/>
                    <a:pt x="4974544" y="2327943"/>
                  </a:cubicBezTo>
                  <a:cubicBezTo>
                    <a:pt x="4974544" y="2327943"/>
                    <a:pt x="4974544" y="2327943"/>
                    <a:pt x="4937497" y="2301489"/>
                  </a:cubicBezTo>
                  <a:cubicBezTo>
                    <a:pt x="4937497" y="2301489"/>
                    <a:pt x="4937497" y="2301489"/>
                    <a:pt x="4926912" y="2264454"/>
                  </a:cubicBezTo>
                  <a:cubicBezTo>
                    <a:pt x="4926912" y="2264454"/>
                    <a:pt x="4926912" y="2264454"/>
                    <a:pt x="4926912" y="2227418"/>
                  </a:cubicBezTo>
                  <a:cubicBezTo>
                    <a:pt x="4926912" y="2227418"/>
                    <a:pt x="4926912" y="2227418"/>
                    <a:pt x="4895157" y="2185092"/>
                  </a:cubicBezTo>
                  <a:cubicBezTo>
                    <a:pt x="4895157" y="2185092"/>
                    <a:pt x="4895157" y="2185092"/>
                    <a:pt x="4879280" y="2174511"/>
                  </a:cubicBezTo>
                  <a:cubicBezTo>
                    <a:pt x="4879280" y="2174511"/>
                    <a:pt x="4879280" y="2174511"/>
                    <a:pt x="4879280" y="2163929"/>
                  </a:cubicBezTo>
                  <a:cubicBezTo>
                    <a:pt x="4879280" y="2163929"/>
                    <a:pt x="4879280" y="2163929"/>
                    <a:pt x="4879280" y="2132185"/>
                  </a:cubicBezTo>
                  <a:cubicBezTo>
                    <a:pt x="4879280" y="2132185"/>
                    <a:pt x="4879280" y="2132185"/>
                    <a:pt x="4879280" y="2100440"/>
                  </a:cubicBezTo>
                  <a:cubicBezTo>
                    <a:pt x="4879280" y="2100440"/>
                    <a:pt x="4879280" y="2100440"/>
                    <a:pt x="4868695" y="2079277"/>
                  </a:cubicBezTo>
                  <a:cubicBezTo>
                    <a:pt x="4868695" y="2079277"/>
                    <a:pt x="4868695" y="2079277"/>
                    <a:pt x="4879280" y="2068695"/>
                  </a:cubicBezTo>
                  <a:cubicBezTo>
                    <a:pt x="4879280" y="2068695"/>
                    <a:pt x="4879280" y="2068695"/>
                    <a:pt x="4873987" y="2058114"/>
                  </a:cubicBezTo>
                  <a:cubicBezTo>
                    <a:pt x="4873987" y="2058114"/>
                    <a:pt x="4873987" y="2058114"/>
                    <a:pt x="4852817" y="2031660"/>
                  </a:cubicBezTo>
                  <a:cubicBezTo>
                    <a:pt x="4852817" y="2031660"/>
                    <a:pt x="4852817" y="2031660"/>
                    <a:pt x="4842232" y="1978753"/>
                  </a:cubicBezTo>
                  <a:cubicBezTo>
                    <a:pt x="4842232" y="1978753"/>
                    <a:pt x="4842232" y="1978753"/>
                    <a:pt x="4826355" y="1957589"/>
                  </a:cubicBezTo>
                  <a:cubicBezTo>
                    <a:pt x="4826355" y="1957589"/>
                    <a:pt x="4826355" y="1957589"/>
                    <a:pt x="4826355" y="1978753"/>
                  </a:cubicBezTo>
                  <a:cubicBezTo>
                    <a:pt x="4826355" y="1978753"/>
                    <a:pt x="4826355" y="1978753"/>
                    <a:pt x="4794600" y="1999916"/>
                  </a:cubicBezTo>
                  <a:cubicBezTo>
                    <a:pt x="4794600" y="1999916"/>
                    <a:pt x="4794600" y="1999916"/>
                    <a:pt x="4784015" y="1984043"/>
                  </a:cubicBezTo>
                  <a:cubicBezTo>
                    <a:pt x="4784015" y="1984043"/>
                    <a:pt x="4784015" y="1984043"/>
                    <a:pt x="4784015" y="1947008"/>
                  </a:cubicBezTo>
                  <a:cubicBezTo>
                    <a:pt x="4784015" y="1947008"/>
                    <a:pt x="4784015" y="1947008"/>
                    <a:pt x="4762845" y="1920554"/>
                  </a:cubicBezTo>
                  <a:cubicBezTo>
                    <a:pt x="4762845" y="1920554"/>
                    <a:pt x="4762845" y="1920554"/>
                    <a:pt x="4725797" y="1883519"/>
                  </a:cubicBezTo>
                  <a:cubicBezTo>
                    <a:pt x="4725797" y="1883519"/>
                    <a:pt x="4725797" y="1883519"/>
                    <a:pt x="4725797" y="1862356"/>
                  </a:cubicBezTo>
                  <a:cubicBezTo>
                    <a:pt x="4725797" y="1862356"/>
                    <a:pt x="4725797" y="1862356"/>
                    <a:pt x="4704627" y="1851774"/>
                  </a:cubicBezTo>
                  <a:cubicBezTo>
                    <a:pt x="4704627" y="1851774"/>
                    <a:pt x="4704627" y="1851774"/>
                    <a:pt x="4667580" y="1862356"/>
                  </a:cubicBezTo>
                  <a:cubicBezTo>
                    <a:pt x="4667580" y="1862356"/>
                    <a:pt x="4667580" y="1862356"/>
                    <a:pt x="4646410" y="1851774"/>
                  </a:cubicBezTo>
                  <a:cubicBezTo>
                    <a:pt x="4646410" y="1851774"/>
                    <a:pt x="4646410" y="1851774"/>
                    <a:pt x="4625240" y="1872937"/>
                  </a:cubicBezTo>
                  <a:cubicBezTo>
                    <a:pt x="4625240" y="1872937"/>
                    <a:pt x="4625240" y="1872937"/>
                    <a:pt x="4630532" y="1888810"/>
                  </a:cubicBezTo>
                  <a:cubicBezTo>
                    <a:pt x="4630532" y="1888810"/>
                    <a:pt x="4630532" y="1888810"/>
                    <a:pt x="4593485" y="1915263"/>
                  </a:cubicBezTo>
                  <a:cubicBezTo>
                    <a:pt x="4593485" y="1915263"/>
                    <a:pt x="4593485" y="1915263"/>
                    <a:pt x="4561730" y="1957589"/>
                  </a:cubicBezTo>
                  <a:cubicBezTo>
                    <a:pt x="4561730" y="1957589"/>
                    <a:pt x="4561730" y="1957589"/>
                    <a:pt x="4540560" y="1989334"/>
                  </a:cubicBezTo>
                  <a:cubicBezTo>
                    <a:pt x="4540560" y="1989334"/>
                    <a:pt x="4540560" y="1989334"/>
                    <a:pt x="4514098" y="1994625"/>
                  </a:cubicBezTo>
                  <a:cubicBezTo>
                    <a:pt x="4514098" y="1994625"/>
                    <a:pt x="4514098" y="1994625"/>
                    <a:pt x="4514098" y="2052823"/>
                  </a:cubicBezTo>
                  <a:cubicBezTo>
                    <a:pt x="4514098" y="2052823"/>
                    <a:pt x="4514098" y="2052823"/>
                    <a:pt x="4514098" y="2079277"/>
                  </a:cubicBezTo>
                  <a:cubicBezTo>
                    <a:pt x="4514098" y="2079277"/>
                    <a:pt x="4514098" y="2079277"/>
                    <a:pt x="4508805" y="2111022"/>
                  </a:cubicBezTo>
                  <a:cubicBezTo>
                    <a:pt x="4508805" y="2111022"/>
                    <a:pt x="4508805" y="2111022"/>
                    <a:pt x="4514098" y="2132185"/>
                  </a:cubicBezTo>
                  <a:cubicBezTo>
                    <a:pt x="4514098" y="2132185"/>
                    <a:pt x="4514098" y="2132185"/>
                    <a:pt x="4482343" y="2163929"/>
                  </a:cubicBezTo>
                  <a:cubicBezTo>
                    <a:pt x="4482343" y="2163929"/>
                    <a:pt x="4482343" y="2163929"/>
                    <a:pt x="4482343" y="2179801"/>
                  </a:cubicBezTo>
                  <a:cubicBezTo>
                    <a:pt x="4482343" y="2179801"/>
                    <a:pt x="4482343" y="2179801"/>
                    <a:pt x="4461173" y="2190383"/>
                  </a:cubicBezTo>
                  <a:cubicBezTo>
                    <a:pt x="4461173" y="2190383"/>
                    <a:pt x="4461173" y="2190383"/>
                    <a:pt x="4440003" y="2158638"/>
                  </a:cubicBezTo>
                  <a:cubicBezTo>
                    <a:pt x="4440003" y="2158638"/>
                    <a:pt x="4440003" y="2158638"/>
                    <a:pt x="4440003" y="2142766"/>
                  </a:cubicBezTo>
                  <a:cubicBezTo>
                    <a:pt x="4440003" y="2142766"/>
                    <a:pt x="4440003" y="2142766"/>
                    <a:pt x="4429418" y="2126894"/>
                  </a:cubicBezTo>
                  <a:cubicBezTo>
                    <a:pt x="4429418" y="2126894"/>
                    <a:pt x="4429418" y="2126894"/>
                    <a:pt x="4413540" y="2105731"/>
                  </a:cubicBezTo>
                  <a:cubicBezTo>
                    <a:pt x="4413540" y="2105731"/>
                    <a:pt x="4413540" y="2105731"/>
                    <a:pt x="4402955" y="2058114"/>
                  </a:cubicBezTo>
                  <a:cubicBezTo>
                    <a:pt x="4402955" y="2058114"/>
                    <a:pt x="4402955" y="2058114"/>
                    <a:pt x="4392370" y="2042242"/>
                  </a:cubicBezTo>
                  <a:cubicBezTo>
                    <a:pt x="4392370" y="2042242"/>
                    <a:pt x="4392370" y="2042242"/>
                    <a:pt x="4334153" y="1931136"/>
                  </a:cubicBezTo>
                  <a:cubicBezTo>
                    <a:pt x="4334153" y="1931136"/>
                    <a:pt x="4334153" y="1931136"/>
                    <a:pt x="4344738" y="1888810"/>
                  </a:cubicBezTo>
                  <a:cubicBezTo>
                    <a:pt x="4344738" y="1888810"/>
                    <a:pt x="4344738" y="1888810"/>
                    <a:pt x="4339445" y="1862356"/>
                  </a:cubicBezTo>
                  <a:cubicBezTo>
                    <a:pt x="4339445" y="1862356"/>
                    <a:pt x="4339445" y="1862356"/>
                    <a:pt x="4323568" y="1894100"/>
                  </a:cubicBezTo>
                  <a:cubicBezTo>
                    <a:pt x="4323568" y="1894100"/>
                    <a:pt x="4323568" y="1894100"/>
                    <a:pt x="4291813" y="1899391"/>
                  </a:cubicBezTo>
                  <a:cubicBezTo>
                    <a:pt x="4291813" y="1899391"/>
                    <a:pt x="4291813" y="1899391"/>
                    <a:pt x="4281228" y="1883519"/>
                  </a:cubicBezTo>
                  <a:cubicBezTo>
                    <a:pt x="4281228" y="1883519"/>
                    <a:pt x="4281228" y="1883519"/>
                    <a:pt x="4260058" y="1867647"/>
                  </a:cubicBezTo>
                  <a:cubicBezTo>
                    <a:pt x="4260058" y="1867647"/>
                    <a:pt x="4260058" y="1867647"/>
                    <a:pt x="4281228" y="1851774"/>
                  </a:cubicBezTo>
                  <a:cubicBezTo>
                    <a:pt x="4281228" y="1851774"/>
                    <a:pt x="4281228" y="1851774"/>
                    <a:pt x="4249473" y="1846484"/>
                  </a:cubicBezTo>
                  <a:cubicBezTo>
                    <a:pt x="4249473" y="1846484"/>
                    <a:pt x="4249473" y="1846484"/>
                    <a:pt x="4249473" y="1830611"/>
                  </a:cubicBezTo>
                  <a:cubicBezTo>
                    <a:pt x="4249473" y="1830611"/>
                    <a:pt x="4249473" y="1830611"/>
                    <a:pt x="4233596" y="1835902"/>
                  </a:cubicBezTo>
                  <a:cubicBezTo>
                    <a:pt x="4233596" y="1835902"/>
                    <a:pt x="4233596" y="1835902"/>
                    <a:pt x="4228303" y="1825321"/>
                  </a:cubicBezTo>
                  <a:cubicBezTo>
                    <a:pt x="4228303" y="1825321"/>
                    <a:pt x="4228303" y="1825321"/>
                    <a:pt x="4207133" y="1814739"/>
                  </a:cubicBezTo>
                  <a:cubicBezTo>
                    <a:pt x="4207133" y="1814739"/>
                    <a:pt x="4207133" y="1814739"/>
                    <a:pt x="4191256" y="1793576"/>
                  </a:cubicBezTo>
                  <a:cubicBezTo>
                    <a:pt x="4191256" y="1793576"/>
                    <a:pt x="4191256" y="1793576"/>
                    <a:pt x="4133038" y="1798867"/>
                  </a:cubicBezTo>
                  <a:cubicBezTo>
                    <a:pt x="4133038" y="1798867"/>
                    <a:pt x="4064236" y="1809448"/>
                    <a:pt x="4058943" y="1809448"/>
                  </a:cubicBezTo>
                  <a:cubicBezTo>
                    <a:pt x="4058943" y="1809448"/>
                    <a:pt x="4016603" y="1793576"/>
                    <a:pt x="4016603" y="1793576"/>
                  </a:cubicBezTo>
                  <a:cubicBezTo>
                    <a:pt x="4016603" y="1793576"/>
                    <a:pt x="4016603" y="1793576"/>
                    <a:pt x="4011311" y="1777704"/>
                  </a:cubicBezTo>
                  <a:cubicBezTo>
                    <a:pt x="4011311" y="1777704"/>
                    <a:pt x="4011311" y="1777704"/>
                    <a:pt x="4000726" y="1761831"/>
                  </a:cubicBezTo>
                  <a:cubicBezTo>
                    <a:pt x="4000726" y="1761831"/>
                    <a:pt x="4000726" y="1761831"/>
                    <a:pt x="3968971" y="1777704"/>
                  </a:cubicBezTo>
                  <a:cubicBezTo>
                    <a:pt x="3968971" y="1777704"/>
                    <a:pt x="3968971" y="1777704"/>
                    <a:pt x="3947801" y="1782994"/>
                  </a:cubicBezTo>
                  <a:cubicBezTo>
                    <a:pt x="3947801" y="1782994"/>
                    <a:pt x="3947801" y="1782994"/>
                    <a:pt x="3910754" y="1756541"/>
                  </a:cubicBezTo>
                  <a:cubicBezTo>
                    <a:pt x="3910754" y="1756541"/>
                    <a:pt x="3894876" y="1761831"/>
                    <a:pt x="3894876" y="1761831"/>
                  </a:cubicBezTo>
                  <a:cubicBezTo>
                    <a:pt x="3894876" y="1767122"/>
                    <a:pt x="3884291" y="1745959"/>
                    <a:pt x="3884291" y="1745959"/>
                  </a:cubicBezTo>
                  <a:cubicBezTo>
                    <a:pt x="3884291" y="1745959"/>
                    <a:pt x="3884291" y="1745959"/>
                    <a:pt x="3863121" y="1708924"/>
                  </a:cubicBezTo>
                  <a:cubicBezTo>
                    <a:pt x="3863121" y="1708924"/>
                    <a:pt x="3863121" y="1708924"/>
                    <a:pt x="3847244" y="1703633"/>
                  </a:cubicBezTo>
                  <a:cubicBezTo>
                    <a:pt x="3847244" y="1703633"/>
                    <a:pt x="3847244" y="1703633"/>
                    <a:pt x="3820781" y="1724796"/>
                  </a:cubicBezTo>
                  <a:cubicBezTo>
                    <a:pt x="3820781" y="1724796"/>
                    <a:pt x="3820781" y="1724796"/>
                    <a:pt x="3836659" y="1745959"/>
                  </a:cubicBezTo>
                  <a:cubicBezTo>
                    <a:pt x="3836659" y="1745959"/>
                    <a:pt x="3836659" y="1745959"/>
                    <a:pt x="3873706" y="1798867"/>
                  </a:cubicBezTo>
                  <a:cubicBezTo>
                    <a:pt x="3873706" y="1798867"/>
                    <a:pt x="3905461" y="1846484"/>
                    <a:pt x="3910754" y="1846484"/>
                  </a:cubicBezTo>
                  <a:cubicBezTo>
                    <a:pt x="3910754" y="1846484"/>
                    <a:pt x="3958386" y="1835902"/>
                    <a:pt x="3958386" y="1835902"/>
                  </a:cubicBezTo>
                  <a:cubicBezTo>
                    <a:pt x="3958386" y="1835902"/>
                    <a:pt x="3958386" y="1835902"/>
                    <a:pt x="3974263" y="1809448"/>
                  </a:cubicBezTo>
                  <a:cubicBezTo>
                    <a:pt x="3974263" y="1809448"/>
                    <a:pt x="3974263" y="1809448"/>
                    <a:pt x="3995433" y="1782994"/>
                  </a:cubicBezTo>
                  <a:cubicBezTo>
                    <a:pt x="3995433" y="1782994"/>
                    <a:pt x="3995433" y="1782994"/>
                    <a:pt x="4006018" y="1835902"/>
                  </a:cubicBezTo>
                  <a:cubicBezTo>
                    <a:pt x="4006018" y="1835902"/>
                    <a:pt x="4006018" y="1835902"/>
                    <a:pt x="4037773" y="1841193"/>
                  </a:cubicBezTo>
                  <a:cubicBezTo>
                    <a:pt x="4037773" y="1841193"/>
                    <a:pt x="4037773" y="1841193"/>
                    <a:pt x="4074821" y="1867647"/>
                  </a:cubicBezTo>
                  <a:cubicBezTo>
                    <a:pt x="4074821" y="1867647"/>
                    <a:pt x="4074821" y="1867647"/>
                    <a:pt x="4074821" y="1899391"/>
                  </a:cubicBezTo>
                  <a:cubicBezTo>
                    <a:pt x="4074821" y="1899391"/>
                    <a:pt x="4074821" y="1899391"/>
                    <a:pt x="4058943" y="1909973"/>
                  </a:cubicBezTo>
                  <a:cubicBezTo>
                    <a:pt x="4058943" y="1909973"/>
                    <a:pt x="4058943" y="1909973"/>
                    <a:pt x="4058943" y="1925845"/>
                  </a:cubicBezTo>
                  <a:cubicBezTo>
                    <a:pt x="4058943" y="1925845"/>
                    <a:pt x="4058943" y="1925845"/>
                    <a:pt x="4048358" y="1925845"/>
                  </a:cubicBezTo>
                  <a:cubicBezTo>
                    <a:pt x="4048358" y="1925845"/>
                    <a:pt x="4048358" y="1925845"/>
                    <a:pt x="4043066" y="1952299"/>
                  </a:cubicBezTo>
                  <a:cubicBezTo>
                    <a:pt x="4043066" y="1952299"/>
                    <a:pt x="4043066" y="1952299"/>
                    <a:pt x="4021896" y="1962880"/>
                  </a:cubicBezTo>
                  <a:cubicBezTo>
                    <a:pt x="4021896" y="1962880"/>
                    <a:pt x="4021896" y="1962880"/>
                    <a:pt x="4021896" y="1978753"/>
                  </a:cubicBezTo>
                  <a:cubicBezTo>
                    <a:pt x="4021896" y="1978753"/>
                    <a:pt x="4021896" y="1978753"/>
                    <a:pt x="4000726" y="1984043"/>
                  </a:cubicBezTo>
                  <a:cubicBezTo>
                    <a:pt x="4000726" y="1984043"/>
                    <a:pt x="4000726" y="1984043"/>
                    <a:pt x="4000726" y="1999916"/>
                  </a:cubicBezTo>
                  <a:cubicBezTo>
                    <a:pt x="4000726" y="1999916"/>
                    <a:pt x="4000726" y="1999916"/>
                    <a:pt x="3953093" y="2010497"/>
                  </a:cubicBezTo>
                  <a:cubicBezTo>
                    <a:pt x="3953093" y="2010497"/>
                    <a:pt x="3953093" y="2010497"/>
                    <a:pt x="3942509" y="2036951"/>
                  </a:cubicBezTo>
                  <a:cubicBezTo>
                    <a:pt x="3942509" y="2036951"/>
                    <a:pt x="3942509" y="2036951"/>
                    <a:pt x="3889584" y="2047532"/>
                  </a:cubicBezTo>
                  <a:cubicBezTo>
                    <a:pt x="3889584" y="2047532"/>
                    <a:pt x="3889584" y="2047532"/>
                    <a:pt x="3873706" y="2063405"/>
                  </a:cubicBezTo>
                  <a:cubicBezTo>
                    <a:pt x="3873706" y="2063405"/>
                    <a:pt x="3873706" y="2063405"/>
                    <a:pt x="3815489" y="2084568"/>
                  </a:cubicBezTo>
                  <a:cubicBezTo>
                    <a:pt x="3815489" y="2084568"/>
                    <a:pt x="3815489" y="2084568"/>
                    <a:pt x="3789026" y="2095149"/>
                  </a:cubicBezTo>
                  <a:cubicBezTo>
                    <a:pt x="3789026" y="2095149"/>
                    <a:pt x="3789026" y="2095149"/>
                    <a:pt x="3773149" y="2095149"/>
                  </a:cubicBezTo>
                  <a:cubicBezTo>
                    <a:pt x="3773149" y="2095149"/>
                    <a:pt x="3773149" y="2095149"/>
                    <a:pt x="3757271" y="2079277"/>
                  </a:cubicBezTo>
                  <a:cubicBezTo>
                    <a:pt x="3757271" y="2079277"/>
                    <a:pt x="3757271" y="2079277"/>
                    <a:pt x="3757271" y="2063405"/>
                  </a:cubicBezTo>
                  <a:cubicBezTo>
                    <a:pt x="3757271" y="2063405"/>
                    <a:pt x="3757271" y="2063405"/>
                    <a:pt x="3741394" y="2042242"/>
                  </a:cubicBezTo>
                  <a:cubicBezTo>
                    <a:pt x="3741394" y="2042242"/>
                    <a:pt x="3741394" y="2042242"/>
                    <a:pt x="3746686" y="2021079"/>
                  </a:cubicBezTo>
                  <a:cubicBezTo>
                    <a:pt x="3746686" y="2021079"/>
                    <a:pt x="3746686" y="2021079"/>
                    <a:pt x="3699054" y="1941717"/>
                  </a:cubicBezTo>
                  <a:cubicBezTo>
                    <a:pt x="3699054" y="1941717"/>
                    <a:pt x="3699054" y="1941717"/>
                    <a:pt x="3672591" y="1931136"/>
                  </a:cubicBezTo>
                  <a:cubicBezTo>
                    <a:pt x="3672591" y="1931136"/>
                    <a:pt x="3672591" y="1931136"/>
                    <a:pt x="3667299" y="1920554"/>
                  </a:cubicBezTo>
                  <a:cubicBezTo>
                    <a:pt x="3667299" y="1920554"/>
                    <a:pt x="3667299" y="1920554"/>
                    <a:pt x="3651421" y="1862356"/>
                  </a:cubicBezTo>
                  <a:cubicBezTo>
                    <a:pt x="3651421" y="1862356"/>
                    <a:pt x="3651421" y="1862356"/>
                    <a:pt x="3624959" y="1851774"/>
                  </a:cubicBezTo>
                  <a:cubicBezTo>
                    <a:pt x="3624959" y="1851774"/>
                    <a:pt x="3624959" y="1851774"/>
                    <a:pt x="3614374" y="1830611"/>
                  </a:cubicBezTo>
                  <a:cubicBezTo>
                    <a:pt x="3614374" y="1830611"/>
                    <a:pt x="3614374" y="1830611"/>
                    <a:pt x="3598497" y="1814739"/>
                  </a:cubicBezTo>
                  <a:cubicBezTo>
                    <a:pt x="3598497" y="1814739"/>
                    <a:pt x="3598497" y="1814739"/>
                    <a:pt x="3582619" y="1782994"/>
                  </a:cubicBezTo>
                  <a:cubicBezTo>
                    <a:pt x="3582619" y="1782994"/>
                    <a:pt x="3582619" y="1782994"/>
                    <a:pt x="3561449" y="1772413"/>
                  </a:cubicBezTo>
                  <a:cubicBezTo>
                    <a:pt x="3561449" y="1772413"/>
                    <a:pt x="3561449" y="1772413"/>
                    <a:pt x="3556157" y="1735378"/>
                  </a:cubicBezTo>
                  <a:cubicBezTo>
                    <a:pt x="3556157" y="1735378"/>
                    <a:pt x="3556157" y="1735378"/>
                    <a:pt x="3550864" y="1751250"/>
                  </a:cubicBezTo>
                  <a:cubicBezTo>
                    <a:pt x="3550864" y="1751250"/>
                    <a:pt x="3550864" y="1751250"/>
                    <a:pt x="3550864" y="1788285"/>
                  </a:cubicBezTo>
                  <a:cubicBezTo>
                    <a:pt x="3550864" y="1788285"/>
                    <a:pt x="3550864" y="1788285"/>
                    <a:pt x="3534987" y="1767122"/>
                  </a:cubicBezTo>
                  <a:cubicBezTo>
                    <a:pt x="3534987" y="1767122"/>
                    <a:pt x="3534987" y="1767122"/>
                    <a:pt x="3524402" y="1745959"/>
                  </a:cubicBezTo>
                  <a:cubicBezTo>
                    <a:pt x="3524402" y="1745959"/>
                    <a:pt x="3524402" y="1745959"/>
                    <a:pt x="3513817" y="1719505"/>
                  </a:cubicBezTo>
                  <a:cubicBezTo>
                    <a:pt x="3513817" y="1719505"/>
                    <a:pt x="3513817" y="1719505"/>
                    <a:pt x="3503232" y="1724796"/>
                  </a:cubicBezTo>
                  <a:cubicBezTo>
                    <a:pt x="3503232" y="1724796"/>
                    <a:pt x="3503232" y="1724796"/>
                    <a:pt x="3519109" y="1772413"/>
                  </a:cubicBezTo>
                  <a:cubicBezTo>
                    <a:pt x="3519109" y="1772413"/>
                    <a:pt x="3519109" y="1772413"/>
                    <a:pt x="3540279" y="1788285"/>
                  </a:cubicBezTo>
                  <a:cubicBezTo>
                    <a:pt x="3540279" y="1788285"/>
                    <a:pt x="3545572" y="1809448"/>
                    <a:pt x="3545572" y="1809448"/>
                  </a:cubicBezTo>
                  <a:cubicBezTo>
                    <a:pt x="3550864" y="1809448"/>
                    <a:pt x="3587912" y="1851774"/>
                    <a:pt x="3587912" y="1851774"/>
                  </a:cubicBezTo>
                  <a:cubicBezTo>
                    <a:pt x="3587912" y="1851774"/>
                    <a:pt x="3587912" y="1851774"/>
                    <a:pt x="3577327" y="1862356"/>
                  </a:cubicBezTo>
                  <a:cubicBezTo>
                    <a:pt x="3577327" y="1862356"/>
                    <a:pt x="3577327" y="1862356"/>
                    <a:pt x="3619667" y="1904682"/>
                  </a:cubicBezTo>
                  <a:cubicBezTo>
                    <a:pt x="3619667" y="1904682"/>
                    <a:pt x="3619667" y="1904682"/>
                    <a:pt x="3630252" y="1973462"/>
                  </a:cubicBezTo>
                  <a:cubicBezTo>
                    <a:pt x="3630252" y="1973462"/>
                    <a:pt x="3630252" y="1973462"/>
                    <a:pt x="3656714" y="1989334"/>
                  </a:cubicBezTo>
                  <a:cubicBezTo>
                    <a:pt x="3656714" y="1989334"/>
                    <a:pt x="3656714" y="1989334"/>
                    <a:pt x="3677884" y="2042242"/>
                  </a:cubicBezTo>
                  <a:cubicBezTo>
                    <a:pt x="3677884" y="2042242"/>
                    <a:pt x="3677884" y="2042242"/>
                    <a:pt x="3741394" y="2084568"/>
                  </a:cubicBezTo>
                  <a:cubicBezTo>
                    <a:pt x="3741394" y="2084568"/>
                    <a:pt x="3741394" y="2084568"/>
                    <a:pt x="3757271" y="2100440"/>
                  </a:cubicBezTo>
                  <a:cubicBezTo>
                    <a:pt x="3757271" y="2100440"/>
                    <a:pt x="3757271" y="2100440"/>
                    <a:pt x="3751979" y="2116312"/>
                  </a:cubicBezTo>
                  <a:cubicBezTo>
                    <a:pt x="3751979" y="2116312"/>
                    <a:pt x="3751979" y="2116312"/>
                    <a:pt x="3767856" y="2142766"/>
                  </a:cubicBezTo>
                  <a:cubicBezTo>
                    <a:pt x="3767856" y="2142766"/>
                    <a:pt x="3767856" y="2142766"/>
                    <a:pt x="3789026" y="2148057"/>
                  </a:cubicBezTo>
                  <a:cubicBezTo>
                    <a:pt x="3789026" y="2148057"/>
                    <a:pt x="3789026" y="2148057"/>
                    <a:pt x="3810196" y="2137475"/>
                  </a:cubicBezTo>
                  <a:cubicBezTo>
                    <a:pt x="3810196" y="2137475"/>
                    <a:pt x="3810196" y="2137475"/>
                    <a:pt x="3831366" y="2137475"/>
                  </a:cubicBezTo>
                  <a:cubicBezTo>
                    <a:pt x="3831366" y="2137475"/>
                    <a:pt x="3831366" y="2137475"/>
                    <a:pt x="3841951" y="2126894"/>
                  </a:cubicBezTo>
                  <a:cubicBezTo>
                    <a:pt x="3841951" y="2126894"/>
                    <a:pt x="3841951" y="2126894"/>
                    <a:pt x="3873706" y="2126894"/>
                  </a:cubicBezTo>
                  <a:cubicBezTo>
                    <a:pt x="3873706" y="2126894"/>
                    <a:pt x="3873706" y="2126894"/>
                    <a:pt x="3910754" y="2111022"/>
                  </a:cubicBezTo>
                  <a:cubicBezTo>
                    <a:pt x="3910754" y="2111022"/>
                    <a:pt x="3910754" y="2111022"/>
                    <a:pt x="3921339" y="2121603"/>
                  </a:cubicBezTo>
                  <a:cubicBezTo>
                    <a:pt x="3921339" y="2121603"/>
                    <a:pt x="3921339" y="2121603"/>
                    <a:pt x="3916046" y="2158638"/>
                  </a:cubicBezTo>
                  <a:cubicBezTo>
                    <a:pt x="3916046" y="2158638"/>
                    <a:pt x="3916046" y="2158638"/>
                    <a:pt x="3894876" y="2200964"/>
                  </a:cubicBezTo>
                  <a:cubicBezTo>
                    <a:pt x="3894876" y="2200964"/>
                    <a:pt x="3894876" y="2200964"/>
                    <a:pt x="3894876" y="2227418"/>
                  </a:cubicBezTo>
                  <a:cubicBezTo>
                    <a:pt x="3894876" y="2227418"/>
                    <a:pt x="3894876" y="2227418"/>
                    <a:pt x="3857829" y="2280326"/>
                  </a:cubicBezTo>
                  <a:cubicBezTo>
                    <a:pt x="3857829" y="2280326"/>
                    <a:pt x="3857829" y="2280326"/>
                    <a:pt x="3751979" y="2375559"/>
                  </a:cubicBezTo>
                  <a:cubicBezTo>
                    <a:pt x="3751979" y="2375559"/>
                    <a:pt x="3751979" y="2375559"/>
                    <a:pt x="3741394" y="2402013"/>
                  </a:cubicBezTo>
                  <a:cubicBezTo>
                    <a:pt x="3741394" y="2402013"/>
                    <a:pt x="3741394" y="2402013"/>
                    <a:pt x="3720224" y="2407304"/>
                  </a:cubicBezTo>
                  <a:cubicBezTo>
                    <a:pt x="3720224" y="2407304"/>
                    <a:pt x="3720224" y="2407304"/>
                    <a:pt x="3693761" y="2454921"/>
                  </a:cubicBezTo>
                  <a:cubicBezTo>
                    <a:pt x="3693761" y="2454921"/>
                    <a:pt x="3693761" y="2454921"/>
                    <a:pt x="3677884" y="2491956"/>
                  </a:cubicBezTo>
                  <a:cubicBezTo>
                    <a:pt x="3677884" y="2491956"/>
                    <a:pt x="3677884" y="2491956"/>
                    <a:pt x="3688469" y="2513119"/>
                  </a:cubicBezTo>
                  <a:cubicBezTo>
                    <a:pt x="3688469" y="2513119"/>
                    <a:pt x="3688469" y="2513119"/>
                    <a:pt x="3683176" y="2550155"/>
                  </a:cubicBezTo>
                  <a:cubicBezTo>
                    <a:pt x="3683176" y="2550155"/>
                    <a:pt x="3683176" y="2550155"/>
                    <a:pt x="3704346" y="2597771"/>
                  </a:cubicBezTo>
                  <a:cubicBezTo>
                    <a:pt x="3704346" y="2597771"/>
                    <a:pt x="3704346" y="2597771"/>
                    <a:pt x="3704346" y="2640097"/>
                  </a:cubicBezTo>
                  <a:cubicBezTo>
                    <a:pt x="3704346" y="2640097"/>
                    <a:pt x="3704346" y="2640097"/>
                    <a:pt x="3699054" y="2677133"/>
                  </a:cubicBezTo>
                  <a:cubicBezTo>
                    <a:pt x="3699054" y="2677133"/>
                    <a:pt x="3699054" y="2677133"/>
                    <a:pt x="3704346" y="2693005"/>
                  </a:cubicBezTo>
                  <a:cubicBezTo>
                    <a:pt x="3704346" y="2693005"/>
                    <a:pt x="3704346" y="2693005"/>
                    <a:pt x="3683176" y="2719459"/>
                  </a:cubicBezTo>
                  <a:cubicBezTo>
                    <a:pt x="3683176" y="2719459"/>
                    <a:pt x="3683176" y="2719459"/>
                    <a:pt x="3640837" y="2730040"/>
                  </a:cubicBezTo>
                  <a:cubicBezTo>
                    <a:pt x="3640837" y="2730040"/>
                    <a:pt x="3640837" y="2730040"/>
                    <a:pt x="3603789" y="2767076"/>
                  </a:cubicBezTo>
                  <a:cubicBezTo>
                    <a:pt x="3603789" y="2767076"/>
                    <a:pt x="3603789" y="2767076"/>
                    <a:pt x="3577327" y="2804111"/>
                  </a:cubicBezTo>
                  <a:cubicBezTo>
                    <a:pt x="3577327" y="2804111"/>
                    <a:pt x="3577327" y="2804111"/>
                    <a:pt x="3587912" y="2857019"/>
                  </a:cubicBezTo>
                  <a:cubicBezTo>
                    <a:pt x="3587912" y="2857019"/>
                    <a:pt x="3587912" y="2857019"/>
                    <a:pt x="3572034" y="2904635"/>
                  </a:cubicBezTo>
                  <a:cubicBezTo>
                    <a:pt x="3572034" y="2904635"/>
                    <a:pt x="3572034" y="2904635"/>
                    <a:pt x="3524402" y="2925798"/>
                  </a:cubicBezTo>
                  <a:cubicBezTo>
                    <a:pt x="3524402" y="2925798"/>
                    <a:pt x="3524402" y="2925798"/>
                    <a:pt x="3524402" y="2978706"/>
                  </a:cubicBezTo>
                  <a:cubicBezTo>
                    <a:pt x="3524402" y="2978706"/>
                    <a:pt x="3524402" y="2978706"/>
                    <a:pt x="3497939" y="2999869"/>
                  </a:cubicBezTo>
                  <a:cubicBezTo>
                    <a:pt x="3497939" y="2999869"/>
                    <a:pt x="3497939" y="2999869"/>
                    <a:pt x="3476769" y="3036904"/>
                  </a:cubicBezTo>
                  <a:cubicBezTo>
                    <a:pt x="3476769" y="3036904"/>
                    <a:pt x="3476769" y="3036904"/>
                    <a:pt x="3429137" y="3079231"/>
                  </a:cubicBezTo>
                  <a:cubicBezTo>
                    <a:pt x="3429137" y="3079231"/>
                    <a:pt x="3429137" y="3079231"/>
                    <a:pt x="3392089" y="3110975"/>
                  </a:cubicBezTo>
                  <a:cubicBezTo>
                    <a:pt x="3392089" y="3110975"/>
                    <a:pt x="3392089" y="3110975"/>
                    <a:pt x="3328580" y="3116266"/>
                  </a:cubicBezTo>
                  <a:cubicBezTo>
                    <a:pt x="3328580" y="3116266"/>
                    <a:pt x="3328580" y="3116266"/>
                    <a:pt x="3291532" y="3121557"/>
                  </a:cubicBezTo>
                  <a:cubicBezTo>
                    <a:pt x="3291532" y="3121557"/>
                    <a:pt x="3291532" y="3121557"/>
                    <a:pt x="3270362" y="3132138"/>
                  </a:cubicBezTo>
                  <a:cubicBezTo>
                    <a:pt x="3270362" y="3132138"/>
                    <a:pt x="3270362" y="3132138"/>
                    <a:pt x="3228022" y="3110975"/>
                  </a:cubicBezTo>
                  <a:cubicBezTo>
                    <a:pt x="3228022" y="3110975"/>
                    <a:pt x="3228022" y="3110975"/>
                    <a:pt x="3228022" y="3100394"/>
                  </a:cubicBezTo>
                  <a:cubicBezTo>
                    <a:pt x="3228022" y="3100394"/>
                    <a:pt x="3228022" y="3100394"/>
                    <a:pt x="3222730" y="3079231"/>
                  </a:cubicBezTo>
                  <a:cubicBezTo>
                    <a:pt x="3222730" y="3079231"/>
                    <a:pt x="3222730" y="3079231"/>
                    <a:pt x="3228022" y="3068649"/>
                  </a:cubicBezTo>
                  <a:cubicBezTo>
                    <a:pt x="3228022" y="3068649"/>
                    <a:pt x="3228022" y="3068649"/>
                    <a:pt x="3228022" y="3047486"/>
                  </a:cubicBezTo>
                  <a:cubicBezTo>
                    <a:pt x="3228022" y="3047486"/>
                    <a:pt x="3228022" y="3047486"/>
                    <a:pt x="3206852" y="3026323"/>
                  </a:cubicBezTo>
                  <a:cubicBezTo>
                    <a:pt x="3206852" y="3026323"/>
                    <a:pt x="3206852" y="3026323"/>
                    <a:pt x="3196267" y="2978706"/>
                  </a:cubicBezTo>
                  <a:cubicBezTo>
                    <a:pt x="3196267" y="2978706"/>
                    <a:pt x="3196267" y="2978706"/>
                    <a:pt x="3175097" y="2962834"/>
                  </a:cubicBezTo>
                  <a:cubicBezTo>
                    <a:pt x="3175097" y="2962834"/>
                    <a:pt x="3175097" y="2962834"/>
                    <a:pt x="3175097" y="2931089"/>
                  </a:cubicBezTo>
                  <a:cubicBezTo>
                    <a:pt x="3175097" y="2931089"/>
                    <a:pt x="3175097" y="2931089"/>
                    <a:pt x="3164512" y="2894054"/>
                  </a:cubicBezTo>
                  <a:cubicBezTo>
                    <a:pt x="3164512" y="2894054"/>
                    <a:pt x="3164512" y="2894054"/>
                    <a:pt x="3153927" y="2830565"/>
                  </a:cubicBezTo>
                  <a:cubicBezTo>
                    <a:pt x="3153927" y="2830565"/>
                    <a:pt x="3153927" y="2830565"/>
                    <a:pt x="3143342" y="2809402"/>
                  </a:cubicBezTo>
                  <a:cubicBezTo>
                    <a:pt x="3143342" y="2809402"/>
                    <a:pt x="3143342" y="2809402"/>
                    <a:pt x="3138050" y="2782948"/>
                  </a:cubicBezTo>
                  <a:cubicBezTo>
                    <a:pt x="3138050" y="2782948"/>
                    <a:pt x="3138050" y="2782948"/>
                    <a:pt x="3116880" y="2761785"/>
                  </a:cubicBezTo>
                  <a:cubicBezTo>
                    <a:pt x="3116880" y="2761785"/>
                    <a:pt x="3116880" y="2761785"/>
                    <a:pt x="3111587" y="2730040"/>
                  </a:cubicBezTo>
                  <a:cubicBezTo>
                    <a:pt x="3111587" y="2730040"/>
                    <a:pt x="3111587" y="2730040"/>
                    <a:pt x="3122173" y="2677133"/>
                  </a:cubicBezTo>
                  <a:cubicBezTo>
                    <a:pt x="3122173" y="2677133"/>
                    <a:pt x="3122173" y="2677133"/>
                    <a:pt x="3153927" y="2629516"/>
                  </a:cubicBezTo>
                  <a:cubicBezTo>
                    <a:pt x="3153927" y="2629516"/>
                    <a:pt x="3153927" y="2629516"/>
                    <a:pt x="3159220" y="2603062"/>
                  </a:cubicBezTo>
                  <a:cubicBezTo>
                    <a:pt x="3159220" y="2603062"/>
                    <a:pt x="3159220" y="2603062"/>
                    <a:pt x="3138050" y="2566027"/>
                  </a:cubicBezTo>
                  <a:cubicBezTo>
                    <a:pt x="3138050" y="2566027"/>
                    <a:pt x="3138050" y="2566027"/>
                    <a:pt x="3148635" y="2539573"/>
                  </a:cubicBezTo>
                  <a:cubicBezTo>
                    <a:pt x="3148635" y="2539573"/>
                    <a:pt x="3148635" y="2539573"/>
                    <a:pt x="3138050" y="2502538"/>
                  </a:cubicBezTo>
                  <a:cubicBezTo>
                    <a:pt x="3138050" y="2502538"/>
                    <a:pt x="3138050" y="2502538"/>
                    <a:pt x="3116880" y="2486665"/>
                  </a:cubicBezTo>
                  <a:cubicBezTo>
                    <a:pt x="3116880" y="2486665"/>
                    <a:pt x="3116880" y="2486665"/>
                    <a:pt x="3101002" y="2449630"/>
                  </a:cubicBezTo>
                  <a:cubicBezTo>
                    <a:pt x="3101002" y="2449630"/>
                    <a:pt x="3101002" y="2449630"/>
                    <a:pt x="3063955" y="2417886"/>
                  </a:cubicBezTo>
                  <a:cubicBezTo>
                    <a:pt x="3063955" y="2417886"/>
                    <a:pt x="3063955" y="2417886"/>
                    <a:pt x="3058662" y="2391432"/>
                  </a:cubicBezTo>
                  <a:cubicBezTo>
                    <a:pt x="3058662" y="2391432"/>
                    <a:pt x="3058662" y="2391432"/>
                    <a:pt x="3079833" y="2317361"/>
                  </a:cubicBezTo>
                  <a:cubicBezTo>
                    <a:pt x="3079833" y="2317361"/>
                    <a:pt x="3079833" y="2317361"/>
                    <a:pt x="3074540" y="2290907"/>
                  </a:cubicBezTo>
                  <a:cubicBezTo>
                    <a:pt x="3074540" y="2290907"/>
                    <a:pt x="3074540" y="2290907"/>
                    <a:pt x="3048078" y="2275035"/>
                  </a:cubicBezTo>
                  <a:cubicBezTo>
                    <a:pt x="3048078" y="2275035"/>
                    <a:pt x="3048078" y="2275035"/>
                    <a:pt x="3000445" y="2280326"/>
                  </a:cubicBezTo>
                  <a:cubicBezTo>
                    <a:pt x="3000445" y="2280326"/>
                    <a:pt x="3000445" y="2280326"/>
                    <a:pt x="2984568" y="2259163"/>
                  </a:cubicBezTo>
                  <a:cubicBezTo>
                    <a:pt x="2984568" y="2259163"/>
                    <a:pt x="2984568" y="2259163"/>
                    <a:pt x="2958106" y="2238000"/>
                  </a:cubicBezTo>
                  <a:cubicBezTo>
                    <a:pt x="2958106" y="2238000"/>
                    <a:pt x="2958106" y="2238000"/>
                    <a:pt x="2884011" y="2253872"/>
                  </a:cubicBezTo>
                  <a:cubicBezTo>
                    <a:pt x="2884011" y="2253872"/>
                    <a:pt x="2884011" y="2253872"/>
                    <a:pt x="2846963" y="2275035"/>
                  </a:cubicBezTo>
                  <a:cubicBezTo>
                    <a:pt x="2846963" y="2275035"/>
                    <a:pt x="2846963" y="2275035"/>
                    <a:pt x="2815208" y="2264454"/>
                  </a:cubicBezTo>
                  <a:cubicBezTo>
                    <a:pt x="2815208" y="2264454"/>
                    <a:pt x="2815208" y="2264454"/>
                    <a:pt x="2778161" y="2259163"/>
                  </a:cubicBezTo>
                  <a:cubicBezTo>
                    <a:pt x="2778161" y="2259163"/>
                    <a:pt x="2778161" y="2259163"/>
                    <a:pt x="2741113" y="2285617"/>
                  </a:cubicBezTo>
                  <a:cubicBezTo>
                    <a:pt x="2741113" y="2285617"/>
                    <a:pt x="2741113" y="2285617"/>
                    <a:pt x="2714651" y="2285617"/>
                  </a:cubicBezTo>
                  <a:cubicBezTo>
                    <a:pt x="2714651" y="2285617"/>
                    <a:pt x="2714651" y="2285617"/>
                    <a:pt x="2640556" y="2227418"/>
                  </a:cubicBezTo>
                  <a:cubicBezTo>
                    <a:pt x="2640556" y="2227418"/>
                    <a:pt x="2640556" y="2227418"/>
                    <a:pt x="2619386" y="2227418"/>
                  </a:cubicBezTo>
                  <a:cubicBezTo>
                    <a:pt x="2619386" y="2227418"/>
                    <a:pt x="2619386" y="2227418"/>
                    <a:pt x="2603509" y="2185092"/>
                  </a:cubicBezTo>
                  <a:cubicBezTo>
                    <a:pt x="2603509" y="2185092"/>
                    <a:pt x="2603509" y="2185092"/>
                    <a:pt x="2561169" y="2126894"/>
                  </a:cubicBezTo>
                  <a:cubicBezTo>
                    <a:pt x="2561169" y="2126894"/>
                    <a:pt x="2561169" y="2126894"/>
                    <a:pt x="2539999" y="2116312"/>
                  </a:cubicBezTo>
                  <a:cubicBezTo>
                    <a:pt x="2539999" y="2116312"/>
                    <a:pt x="2539999" y="2116312"/>
                    <a:pt x="2534706" y="2079277"/>
                  </a:cubicBezTo>
                  <a:cubicBezTo>
                    <a:pt x="2534706" y="2079277"/>
                    <a:pt x="2534706" y="2079277"/>
                    <a:pt x="2524121" y="2058114"/>
                  </a:cubicBezTo>
                  <a:cubicBezTo>
                    <a:pt x="2524121" y="2058114"/>
                    <a:pt x="2524121" y="2058114"/>
                    <a:pt x="2545291" y="2042242"/>
                  </a:cubicBezTo>
                  <a:cubicBezTo>
                    <a:pt x="2545291" y="2042242"/>
                    <a:pt x="2545291" y="2042242"/>
                    <a:pt x="2545291" y="2015788"/>
                  </a:cubicBezTo>
                  <a:cubicBezTo>
                    <a:pt x="2545291" y="2015788"/>
                    <a:pt x="2545291" y="2015788"/>
                    <a:pt x="2550584" y="1994625"/>
                  </a:cubicBezTo>
                  <a:cubicBezTo>
                    <a:pt x="2550584" y="1994625"/>
                    <a:pt x="2550584" y="1994625"/>
                    <a:pt x="2539999" y="1962880"/>
                  </a:cubicBezTo>
                  <a:cubicBezTo>
                    <a:pt x="2539999" y="1962880"/>
                    <a:pt x="2539999" y="1962880"/>
                    <a:pt x="2550584" y="1947008"/>
                  </a:cubicBezTo>
                  <a:cubicBezTo>
                    <a:pt x="2550584" y="1947008"/>
                    <a:pt x="2550584" y="1947008"/>
                    <a:pt x="2534706" y="1941717"/>
                  </a:cubicBezTo>
                  <a:cubicBezTo>
                    <a:pt x="2534706" y="1941717"/>
                    <a:pt x="2534706" y="1941717"/>
                    <a:pt x="2529413" y="1920554"/>
                  </a:cubicBezTo>
                  <a:cubicBezTo>
                    <a:pt x="2529413" y="1920554"/>
                    <a:pt x="2529413" y="1920554"/>
                    <a:pt x="2550584" y="1899391"/>
                  </a:cubicBezTo>
                  <a:cubicBezTo>
                    <a:pt x="2550584" y="1899391"/>
                    <a:pt x="2550584" y="1899391"/>
                    <a:pt x="2555876" y="1867647"/>
                  </a:cubicBezTo>
                  <a:cubicBezTo>
                    <a:pt x="2555876" y="1867647"/>
                    <a:pt x="2555876" y="1867647"/>
                    <a:pt x="2582339" y="1851774"/>
                  </a:cubicBezTo>
                  <a:cubicBezTo>
                    <a:pt x="2582339" y="1851774"/>
                    <a:pt x="2582339" y="1851774"/>
                    <a:pt x="2582339" y="1825321"/>
                  </a:cubicBezTo>
                  <a:cubicBezTo>
                    <a:pt x="2582339" y="1825321"/>
                    <a:pt x="2582339" y="1825321"/>
                    <a:pt x="2603509" y="1809448"/>
                  </a:cubicBezTo>
                  <a:cubicBezTo>
                    <a:pt x="2603509" y="1809448"/>
                    <a:pt x="2603509" y="1809448"/>
                    <a:pt x="2614094" y="1782994"/>
                  </a:cubicBezTo>
                  <a:cubicBezTo>
                    <a:pt x="2614094" y="1782994"/>
                    <a:pt x="2614094" y="1782994"/>
                    <a:pt x="2645849" y="1777704"/>
                  </a:cubicBezTo>
                  <a:cubicBezTo>
                    <a:pt x="2645849" y="1777704"/>
                    <a:pt x="2645849" y="1777704"/>
                    <a:pt x="2677604" y="1756541"/>
                  </a:cubicBezTo>
                  <a:cubicBezTo>
                    <a:pt x="2677604" y="1756541"/>
                    <a:pt x="2677604" y="1756541"/>
                    <a:pt x="2677604" y="1730087"/>
                  </a:cubicBezTo>
                  <a:cubicBezTo>
                    <a:pt x="2677604" y="1730087"/>
                    <a:pt x="2677604" y="1730087"/>
                    <a:pt x="2688189" y="1682470"/>
                  </a:cubicBezTo>
                  <a:cubicBezTo>
                    <a:pt x="2688189" y="1682470"/>
                    <a:pt x="2688189" y="1682470"/>
                    <a:pt x="2730529" y="1650725"/>
                  </a:cubicBezTo>
                  <a:cubicBezTo>
                    <a:pt x="2730529" y="1650725"/>
                    <a:pt x="2730529" y="1650725"/>
                    <a:pt x="2751698" y="1624272"/>
                  </a:cubicBezTo>
                  <a:cubicBezTo>
                    <a:pt x="2751698" y="1624272"/>
                    <a:pt x="2751698" y="1624272"/>
                    <a:pt x="2762283" y="1597818"/>
                  </a:cubicBezTo>
                  <a:cubicBezTo>
                    <a:pt x="2762283" y="1597818"/>
                    <a:pt x="2762283" y="1597818"/>
                    <a:pt x="2735821" y="1576655"/>
                  </a:cubicBezTo>
                  <a:cubicBezTo>
                    <a:pt x="2735821" y="1576655"/>
                    <a:pt x="2735821" y="1576655"/>
                    <a:pt x="2704066" y="1581946"/>
                  </a:cubicBezTo>
                  <a:cubicBezTo>
                    <a:pt x="2704066" y="1581946"/>
                    <a:pt x="2704066" y="1581946"/>
                    <a:pt x="2698773" y="1566073"/>
                  </a:cubicBezTo>
                  <a:cubicBezTo>
                    <a:pt x="2698773" y="1566073"/>
                    <a:pt x="2698773" y="1566073"/>
                    <a:pt x="2698773" y="1523747"/>
                  </a:cubicBezTo>
                  <a:cubicBezTo>
                    <a:pt x="2698773" y="1523747"/>
                    <a:pt x="2698773" y="1523747"/>
                    <a:pt x="2704066" y="1476130"/>
                  </a:cubicBezTo>
                  <a:cubicBezTo>
                    <a:pt x="2704066" y="1476130"/>
                    <a:pt x="2704066" y="1476130"/>
                    <a:pt x="2704066" y="1428514"/>
                  </a:cubicBezTo>
                  <a:cubicBezTo>
                    <a:pt x="2704066" y="1428514"/>
                    <a:pt x="2704066" y="1428514"/>
                    <a:pt x="2730529" y="1412641"/>
                  </a:cubicBezTo>
                  <a:cubicBezTo>
                    <a:pt x="2730529" y="1412641"/>
                    <a:pt x="2730529" y="1412641"/>
                    <a:pt x="2762283" y="1423223"/>
                  </a:cubicBezTo>
                  <a:cubicBezTo>
                    <a:pt x="2762283" y="1423223"/>
                    <a:pt x="2762283" y="1423223"/>
                    <a:pt x="2841670" y="1423223"/>
                  </a:cubicBezTo>
                  <a:cubicBezTo>
                    <a:pt x="2841670" y="1423223"/>
                    <a:pt x="2841670" y="1423223"/>
                    <a:pt x="2862841" y="1380897"/>
                  </a:cubicBezTo>
                  <a:cubicBezTo>
                    <a:pt x="2862841" y="1380897"/>
                    <a:pt x="2862841" y="1380897"/>
                    <a:pt x="2862841" y="1359734"/>
                  </a:cubicBezTo>
                  <a:cubicBezTo>
                    <a:pt x="2862841" y="1359734"/>
                    <a:pt x="2862841" y="1359734"/>
                    <a:pt x="2836378" y="1322698"/>
                  </a:cubicBezTo>
                  <a:cubicBezTo>
                    <a:pt x="2836378" y="1322698"/>
                    <a:pt x="2836378" y="1322698"/>
                    <a:pt x="2809916" y="1306826"/>
                  </a:cubicBezTo>
                  <a:cubicBezTo>
                    <a:pt x="2809916" y="1306826"/>
                    <a:pt x="2809916" y="1306826"/>
                    <a:pt x="2794038" y="1296245"/>
                  </a:cubicBezTo>
                  <a:cubicBezTo>
                    <a:pt x="2794038" y="1296245"/>
                    <a:pt x="2794038" y="1296245"/>
                    <a:pt x="2799330" y="1280372"/>
                  </a:cubicBezTo>
                  <a:cubicBezTo>
                    <a:pt x="2799330" y="1280372"/>
                    <a:pt x="2799330" y="1280372"/>
                    <a:pt x="2831085" y="1285663"/>
                  </a:cubicBezTo>
                  <a:cubicBezTo>
                    <a:pt x="2831085" y="1285663"/>
                    <a:pt x="2831085" y="1285663"/>
                    <a:pt x="2841670" y="1275081"/>
                  </a:cubicBezTo>
                  <a:cubicBezTo>
                    <a:pt x="2841670" y="1275081"/>
                    <a:pt x="2841670" y="1275081"/>
                    <a:pt x="2836378" y="1259209"/>
                  </a:cubicBezTo>
                  <a:cubicBezTo>
                    <a:pt x="2836378" y="1259209"/>
                    <a:pt x="2836378" y="1259209"/>
                    <a:pt x="2820501" y="1238046"/>
                  </a:cubicBezTo>
                  <a:cubicBezTo>
                    <a:pt x="2820501" y="1238046"/>
                    <a:pt x="2820501" y="1238046"/>
                    <a:pt x="2788746" y="1243337"/>
                  </a:cubicBezTo>
                  <a:cubicBezTo>
                    <a:pt x="2788746" y="1243337"/>
                    <a:pt x="2788746" y="1243337"/>
                    <a:pt x="2783453" y="1232755"/>
                  </a:cubicBezTo>
                  <a:cubicBezTo>
                    <a:pt x="2783453" y="1232755"/>
                    <a:pt x="2783453" y="1232755"/>
                    <a:pt x="2815208" y="1216883"/>
                  </a:cubicBezTo>
                  <a:cubicBezTo>
                    <a:pt x="2815208" y="1216883"/>
                    <a:pt x="2815208" y="1216883"/>
                    <a:pt x="2778161" y="1206302"/>
                  </a:cubicBezTo>
                  <a:cubicBezTo>
                    <a:pt x="2778161" y="1206302"/>
                    <a:pt x="2778161" y="1206302"/>
                    <a:pt x="2794038" y="1179848"/>
                  </a:cubicBezTo>
                  <a:cubicBezTo>
                    <a:pt x="2794038" y="1179848"/>
                    <a:pt x="2794038" y="1179848"/>
                    <a:pt x="2809916" y="1158685"/>
                  </a:cubicBezTo>
                  <a:cubicBezTo>
                    <a:pt x="2809916" y="1158685"/>
                    <a:pt x="2809916" y="1158685"/>
                    <a:pt x="2815208" y="1121649"/>
                  </a:cubicBezTo>
                  <a:cubicBezTo>
                    <a:pt x="2815208" y="1121649"/>
                    <a:pt x="2815208" y="1121649"/>
                    <a:pt x="2788746" y="1116359"/>
                  </a:cubicBezTo>
                  <a:cubicBezTo>
                    <a:pt x="2788746" y="1116359"/>
                    <a:pt x="2788746" y="1116359"/>
                    <a:pt x="2767576" y="1079323"/>
                  </a:cubicBezTo>
                  <a:cubicBezTo>
                    <a:pt x="2767576" y="1079323"/>
                    <a:pt x="2767576" y="1079323"/>
                    <a:pt x="2767576" y="1042288"/>
                  </a:cubicBezTo>
                  <a:cubicBezTo>
                    <a:pt x="2767576" y="1042288"/>
                    <a:pt x="2767576" y="1042288"/>
                    <a:pt x="2788746" y="1015834"/>
                  </a:cubicBezTo>
                  <a:cubicBezTo>
                    <a:pt x="2788746" y="1015834"/>
                    <a:pt x="2788746" y="1015834"/>
                    <a:pt x="2825793" y="1005253"/>
                  </a:cubicBezTo>
                  <a:cubicBezTo>
                    <a:pt x="2825793" y="1005253"/>
                    <a:pt x="2825793" y="1005253"/>
                    <a:pt x="2815208" y="1031706"/>
                  </a:cubicBezTo>
                  <a:cubicBezTo>
                    <a:pt x="2815208" y="1031706"/>
                    <a:pt x="2815208" y="1031706"/>
                    <a:pt x="2841670" y="1052870"/>
                  </a:cubicBezTo>
                  <a:cubicBezTo>
                    <a:pt x="2841670" y="1052870"/>
                    <a:pt x="2841670" y="1052870"/>
                    <a:pt x="2825793" y="1089905"/>
                  </a:cubicBezTo>
                  <a:cubicBezTo>
                    <a:pt x="2825793" y="1089905"/>
                    <a:pt x="2825793" y="1089905"/>
                    <a:pt x="2873426" y="1158685"/>
                  </a:cubicBezTo>
                  <a:cubicBezTo>
                    <a:pt x="2873426" y="1158685"/>
                    <a:pt x="2873426" y="1158685"/>
                    <a:pt x="2899888" y="1185139"/>
                  </a:cubicBezTo>
                  <a:cubicBezTo>
                    <a:pt x="2899888" y="1185139"/>
                    <a:pt x="2899888" y="1185139"/>
                    <a:pt x="2899888" y="1222174"/>
                  </a:cubicBezTo>
                  <a:cubicBezTo>
                    <a:pt x="2899888" y="1222174"/>
                    <a:pt x="2899888" y="1222174"/>
                    <a:pt x="2846963" y="1253918"/>
                  </a:cubicBezTo>
                  <a:cubicBezTo>
                    <a:pt x="2846963" y="1253918"/>
                    <a:pt x="2846963" y="1253918"/>
                    <a:pt x="2873426" y="1269791"/>
                  </a:cubicBezTo>
                  <a:cubicBezTo>
                    <a:pt x="2873426" y="1269791"/>
                    <a:pt x="2873426" y="1269791"/>
                    <a:pt x="2947520" y="1216883"/>
                  </a:cubicBezTo>
                  <a:cubicBezTo>
                    <a:pt x="2947520" y="1216883"/>
                    <a:pt x="2947520" y="1216883"/>
                    <a:pt x="2958106" y="1179848"/>
                  </a:cubicBezTo>
                  <a:cubicBezTo>
                    <a:pt x="2958106" y="1179848"/>
                    <a:pt x="2958106" y="1179848"/>
                    <a:pt x="2995153" y="1153394"/>
                  </a:cubicBezTo>
                  <a:cubicBezTo>
                    <a:pt x="2995153" y="1153394"/>
                    <a:pt x="2995153" y="1153394"/>
                    <a:pt x="3032200" y="1142812"/>
                  </a:cubicBezTo>
                  <a:cubicBezTo>
                    <a:pt x="3032200" y="1142812"/>
                    <a:pt x="3032200" y="1142812"/>
                    <a:pt x="3016323" y="1116359"/>
                  </a:cubicBezTo>
                  <a:cubicBezTo>
                    <a:pt x="3016323" y="1116359"/>
                    <a:pt x="3016323" y="1116359"/>
                    <a:pt x="3011030" y="1084614"/>
                  </a:cubicBezTo>
                  <a:cubicBezTo>
                    <a:pt x="3011030" y="1084614"/>
                    <a:pt x="3011030" y="1084614"/>
                    <a:pt x="3032200" y="1074033"/>
                  </a:cubicBezTo>
                  <a:cubicBezTo>
                    <a:pt x="3032200" y="1074033"/>
                    <a:pt x="3032200" y="1074033"/>
                    <a:pt x="3032200" y="1047579"/>
                  </a:cubicBezTo>
                  <a:cubicBezTo>
                    <a:pt x="3032200" y="1047579"/>
                    <a:pt x="3032200" y="1047579"/>
                    <a:pt x="3053370" y="1031706"/>
                  </a:cubicBezTo>
                  <a:cubicBezTo>
                    <a:pt x="3053370" y="1031706"/>
                    <a:pt x="3053370" y="1031706"/>
                    <a:pt x="3069248" y="1111068"/>
                  </a:cubicBezTo>
                  <a:cubicBezTo>
                    <a:pt x="3069248" y="1111068"/>
                    <a:pt x="3069248" y="1111068"/>
                    <a:pt x="3101002" y="1089905"/>
                  </a:cubicBezTo>
                  <a:cubicBezTo>
                    <a:pt x="3101002" y="1089905"/>
                    <a:pt x="3101002" y="1089905"/>
                    <a:pt x="3074540" y="1036997"/>
                  </a:cubicBezTo>
                  <a:cubicBezTo>
                    <a:pt x="3074540" y="1036997"/>
                    <a:pt x="3074540" y="1036997"/>
                    <a:pt x="3063955" y="984090"/>
                  </a:cubicBezTo>
                  <a:cubicBezTo>
                    <a:pt x="3063955" y="984090"/>
                    <a:pt x="3063955" y="984090"/>
                    <a:pt x="3005738" y="1036997"/>
                  </a:cubicBezTo>
                  <a:cubicBezTo>
                    <a:pt x="3005738" y="1036997"/>
                    <a:pt x="3005738" y="1036997"/>
                    <a:pt x="2973983" y="1021125"/>
                  </a:cubicBezTo>
                  <a:cubicBezTo>
                    <a:pt x="2973983" y="1021125"/>
                    <a:pt x="2973983" y="1021125"/>
                    <a:pt x="2958106" y="957636"/>
                  </a:cubicBezTo>
                  <a:cubicBezTo>
                    <a:pt x="2958106" y="957636"/>
                    <a:pt x="2958106" y="957636"/>
                    <a:pt x="2968690" y="894147"/>
                  </a:cubicBezTo>
                  <a:cubicBezTo>
                    <a:pt x="2968690" y="894147"/>
                    <a:pt x="2968690" y="894147"/>
                    <a:pt x="3074540" y="809494"/>
                  </a:cubicBezTo>
                  <a:cubicBezTo>
                    <a:pt x="3074540" y="809494"/>
                    <a:pt x="3074540" y="809494"/>
                    <a:pt x="3101002" y="751296"/>
                  </a:cubicBezTo>
                  <a:cubicBezTo>
                    <a:pt x="3101002" y="751296"/>
                    <a:pt x="3101002" y="751296"/>
                    <a:pt x="3127465" y="703679"/>
                  </a:cubicBezTo>
                  <a:cubicBezTo>
                    <a:pt x="3127465" y="703679"/>
                    <a:pt x="3127465" y="703679"/>
                    <a:pt x="3148635" y="671935"/>
                  </a:cubicBezTo>
                  <a:cubicBezTo>
                    <a:pt x="3148635" y="671935"/>
                    <a:pt x="3148635" y="671935"/>
                    <a:pt x="3185682" y="661353"/>
                  </a:cubicBezTo>
                  <a:cubicBezTo>
                    <a:pt x="3185682" y="661353"/>
                    <a:pt x="3185682" y="661353"/>
                    <a:pt x="3201560" y="634899"/>
                  </a:cubicBezTo>
                  <a:cubicBezTo>
                    <a:pt x="3201560" y="634899"/>
                    <a:pt x="3201560" y="634899"/>
                    <a:pt x="3217437" y="634899"/>
                  </a:cubicBezTo>
                  <a:cubicBezTo>
                    <a:pt x="3217437" y="634899"/>
                    <a:pt x="3217437" y="634899"/>
                    <a:pt x="3233315" y="656062"/>
                  </a:cubicBezTo>
                  <a:cubicBezTo>
                    <a:pt x="3233315" y="656062"/>
                    <a:pt x="3233315" y="656062"/>
                    <a:pt x="3243900" y="634899"/>
                  </a:cubicBezTo>
                  <a:cubicBezTo>
                    <a:pt x="3243900" y="634899"/>
                    <a:pt x="3243900" y="634899"/>
                    <a:pt x="3291532" y="619027"/>
                  </a:cubicBezTo>
                  <a:cubicBezTo>
                    <a:pt x="3291532" y="619027"/>
                    <a:pt x="3291532" y="619027"/>
                    <a:pt x="3344457" y="656062"/>
                  </a:cubicBezTo>
                  <a:cubicBezTo>
                    <a:pt x="3344457" y="656062"/>
                    <a:pt x="3344457" y="656062"/>
                    <a:pt x="3370919" y="645481"/>
                  </a:cubicBezTo>
                  <a:cubicBezTo>
                    <a:pt x="3370919" y="645481"/>
                    <a:pt x="3370919" y="645481"/>
                    <a:pt x="3392089" y="666644"/>
                  </a:cubicBezTo>
                  <a:cubicBezTo>
                    <a:pt x="3392089" y="666644"/>
                    <a:pt x="3392089" y="666644"/>
                    <a:pt x="3429137" y="661353"/>
                  </a:cubicBezTo>
                  <a:cubicBezTo>
                    <a:pt x="3429137" y="661353"/>
                    <a:pt x="3429137" y="661353"/>
                    <a:pt x="3497939" y="693098"/>
                  </a:cubicBezTo>
                  <a:cubicBezTo>
                    <a:pt x="3497939" y="693098"/>
                    <a:pt x="3497939" y="693098"/>
                    <a:pt x="3519109" y="719551"/>
                  </a:cubicBezTo>
                  <a:cubicBezTo>
                    <a:pt x="3519109" y="719551"/>
                    <a:pt x="3519109" y="719551"/>
                    <a:pt x="3519109" y="746005"/>
                  </a:cubicBezTo>
                  <a:cubicBezTo>
                    <a:pt x="3519109" y="746005"/>
                    <a:pt x="3519109" y="746005"/>
                    <a:pt x="3487354" y="761877"/>
                  </a:cubicBezTo>
                  <a:cubicBezTo>
                    <a:pt x="3487354" y="761877"/>
                    <a:pt x="3487354" y="761877"/>
                    <a:pt x="3429137" y="751296"/>
                  </a:cubicBezTo>
                  <a:cubicBezTo>
                    <a:pt x="3429137" y="751296"/>
                    <a:pt x="3429137" y="751296"/>
                    <a:pt x="3397382" y="735424"/>
                  </a:cubicBezTo>
                  <a:cubicBezTo>
                    <a:pt x="3397382" y="735424"/>
                    <a:pt x="3397382" y="735424"/>
                    <a:pt x="3370919" y="730133"/>
                  </a:cubicBezTo>
                  <a:cubicBezTo>
                    <a:pt x="3370919" y="730133"/>
                    <a:pt x="3370919" y="730133"/>
                    <a:pt x="3397382" y="756587"/>
                  </a:cubicBezTo>
                  <a:cubicBezTo>
                    <a:pt x="3397382" y="756587"/>
                    <a:pt x="3397382" y="756587"/>
                    <a:pt x="3429137" y="777750"/>
                  </a:cubicBezTo>
                  <a:cubicBezTo>
                    <a:pt x="3429137" y="777750"/>
                    <a:pt x="3429137" y="777750"/>
                    <a:pt x="3434429" y="809494"/>
                  </a:cubicBezTo>
                  <a:cubicBezTo>
                    <a:pt x="3434429" y="809494"/>
                    <a:pt x="3434429" y="809494"/>
                    <a:pt x="3466184" y="830658"/>
                  </a:cubicBezTo>
                  <a:cubicBezTo>
                    <a:pt x="3466184" y="830658"/>
                    <a:pt x="3466184" y="830658"/>
                    <a:pt x="3497939" y="825367"/>
                  </a:cubicBezTo>
                  <a:cubicBezTo>
                    <a:pt x="3497939" y="825367"/>
                    <a:pt x="3497939" y="825367"/>
                    <a:pt x="3487354" y="809494"/>
                  </a:cubicBezTo>
                  <a:cubicBezTo>
                    <a:pt x="3487354" y="809494"/>
                    <a:pt x="3487354" y="809494"/>
                    <a:pt x="3460892" y="788331"/>
                  </a:cubicBezTo>
                  <a:cubicBezTo>
                    <a:pt x="3460892" y="788331"/>
                    <a:pt x="3460892" y="788331"/>
                    <a:pt x="3476769" y="788331"/>
                  </a:cubicBezTo>
                  <a:cubicBezTo>
                    <a:pt x="3476769" y="788331"/>
                    <a:pt x="3476769" y="788331"/>
                    <a:pt x="3503232" y="804204"/>
                  </a:cubicBezTo>
                  <a:cubicBezTo>
                    <a:pt x="3503232" y="804204"/>
                    <a:pt x="3503232" y="804204"/>
                    <a:pt x="3529694" y="788331"/>
                  </a:cubicBezTo>
                  <a:cubicBezTo>
                    <a:pt x="3529694" y="788331"/>
                    <a:pt x="3529694" y="788331"/>
                    <a:pt x="3513817" y="767168"/>
                  </a:cubicBezTo>
                  <a:cubicBezTo>
                    <a:pt x="3513817" y="767168"/>
                    <a:pt x="3513817" y="767168"/>
                    <a:pt x="3529694" y="751296"/>
                  </a:cubicBezTo>
                  <a:cubicBezTo>
                    <a:pt x="3529694" y="751296"/>
                    <a:pt x="3529694" y="751296"/>
                    <a:pt x="3540279" y="735424"/>
                  </a:cubicBezTo>
                  <a:cubicBezTo>
                    <a:pt x="3540279" y="735424"/>
                    <a:pt x="3540279" y="735424"/>
                    <a:pt x="3545572" y="735424"/>
                  </a:cubicBezTo>
                  <a:cubicBezTo>
                    <a:pt x="3545572" y="735424"/>
                    <a:pt x="3545572" y="735424"/>
                    <a:pt x="3577327" y="756587"/>
                  </a:cubicBezTo>
                  <a:cubicBezTo>
                    <a:pt x="3577327" y="756587"/>
                    <a:pt x="3577327" y="756587"/>
                    <a:pt x="3577327" y="735424"/>
                  </a:cubicBezTo>
                  <a:cubicBezTo>
                    <a:pt x="3577327" y="735424"/>
                    <a:pt x="3577327" y="735424"/>
                    <a:pt x="3572034" y="719551"/>
                  </a:cubicBezTo>
                  <a:cubicBezTo>
                    <a:pt x="3572034" y="719551"/>
                    <a:pt x="3572034" y="719551"/>
                    <a:pt x="3556157" y="687807"/>
                  </a:cubicBezTo>
                  <a:cubicBezTo>
                    <a:pt x="3556157" y="687807"/>
                    <a:pt x="3556157" y="687807"/>
                    <a:pt x="3550864" y="666644"/>
                  </a:cubicBezTo>
                  <a:cubicBezTo>
                    <a:pt x="3550864" y="666644"/>
                    <a:pt x="3550864" y="666644"/>
                    <a:pt x="3566742" y="666644"/>
                  </a:cubicBezTo>
                  <a:cubicBezTo>
                    <a:pt x="3566742" y="666644"/>
                    <a:pt x="3566742" y="666644"/>
                    <a:pt x="3598497" y="671935"/>
                  </a:cubicBezTo>
                  <a:cubicBezTo>
                    <a:pt x="3598497" y="671935"/>
                    <a:pt x="3598497" y="671935"/>
                    <a:pt x="3603789" y="693098"/>
                  </a:cubicBezTo>
                  <a:cubicBezTo>
                    <a:pt x="3603789" y="693098"/>
                    <a:pt x="3603789" y="693098"/>
                    <a:pt x="3593204" y="687807"/>
                  </a:cubicBezTo>
                  <a:cubicBezTo>
                    <a:pt x="3593204" y="687807"/>
                    <a:pt x="3593204" y="687807"/>
                    <a:pt x="3577327" y="703679"/>
                  </a:cubicBezTo>
                  <a:cubicBezTo>
                    <a:pt x="3577327" y="703679"/>
                    <a:pt x="3577327" y="703679"/>
                    <a:pt x="3598497" y="719551"/>
                  </a:cubicBezTo>
                  <a:cubicBezTo>
                    <a:pt x="3598497" y="719551"/>
                    <a:pt x="3598497" y="719551"/>
                    <a:pt x="3624959" y="724842"/>
                  </a:cubicBezTo>
                  <a:cubicBezTo>
                    <a:pt x="3624959" y="724842"/>
                    <a:pt x="3624959" y="724842"/>
                    <a:pt x="3624959" y="703679"/>
                  </a:cubicBezTo>
                  <a:cubicBezTo>
                    <a:pt x="3624959" y="703679"/>
                    <a:pt x="3624959" y="703679"/>
                    <a:pt x="3640837" y="677225"/>
                  </a:cubicBezTo>
                  <a:cubicBezTo>
                    <a:pt x="3640837" y="677225"/>
                    <a:pt x="3640837" y="677225"/>
                    <a:pt x="3688469" y="656062"/>
                  </a:cubicBezTo>
                  <a:cubicBezTo>
                    <a:pt x="3688469" y="656062"/>
                    <a:pt x="3688469" y="656062"/>
                    <a:pt x="3699054" y="634899"/>
                  </a:cubicBezTo>
                  <a:cubicBezTo>
                    <a:pt x="3699054" y="634899"/>
                    <a:pt x="3699054" y="634899"/>
                    <a:pt x="3714931" y="629608"/>
                  </a:cubicBezTo>
                  <a:cubicBezTo>
                    <a:pt x="3714931" y="629608"/>
                    <a:pt x="3714931" y="629608"/>
                    <a:pt x="3699054" y="671935"/>
                  </a:cubicBezTo>
                  <a:cubicBezTo>
                    <a:pt x="3699054" y="671935"/>
                    <a:pt x="3699054" y="671935"/>
                    <a:pt x="3720224" y="661353"/>
                  </a:cubicBezTo>
                  <a:cubicBezTo>
                    <a:pt x="3720224" y="661353"/>
                    <a:pt x="3720224" y="661353"/>
                    <a:pt x="3757271" y="640190"/>
                  </a:cubicBezTo>
                  <a:cubicBezTo>
                    <a:pt x="3757271" y="640190"/>
                    <a:pt x="3757271" y="640190"/>
                    <a:pt x="3789026" y="634899"/>
                  </a:cubicBezTo>
                  <a:cubicBezTo>
                    <a:pt x="3789026" y="634899"/>
                    <a:pt x="3789026" y="634899"/>
                    <a:pt x="3804904" y="634899"/>
                  </a:cubicBezTo>
                  <a:cubicBezTo>
                    <a:pt x="3804904" y="634899"/>
                    <a:pt x="3804904" y="634899"/>
                    <a:pt x="3799611" y="608445"/>
                  </a:cubicBezTo>
                  <a:cubicBezTo>
                    <a:pt x="3799611" y="608445"/>
                    <a:pt x="3799611" y="608445"/>
                    <a:pt x="3725516" y="581992"/>
                  </a:cubicBezTo>
                  <a:cubicBezTo>
                    <a:pt x="3725516" y="581992"/>
                    <a:pt x="3725516" y="581992"/>
                    <a:pt x="3688469" y="581992"/>
                  </a:cubicBezTo>
                  <a:cubicBezTo>
                    <a:pt x="3688469" y="581992"/>
                    <a:pt x="3688469" y="581992"/>
                    <a:pt x="3677884" y="571410"/>
                  </a:cubicBezTo>
                  <a:cubicBezTo>
                    <a:pt x="3677884" y="571410"/>
                    <a:pt x="3677884" y="571410"/>
                    <a:pt x="3651421" y="566119"/>
                  </a:cubicBezTo>
                  <a:cubicBezTo>
                    <a:pt x="3651421" y="566119"/>
                    <a:pt x="3651421" y="566119"/>
                    <a:pt x="3640837" y="539666"/>
                  </a:cubicBezTo>
                  <a:cubicBezTo>
                    <a:pt x="3640837" y="539666"/>
                    <a:pt x="3640837" y="539666"/>
                    <a:pt x="3667299" y="529084"/>
                  </a:cubicBezTo>
                  <a:cubicBezTo>
                    <a:pt x="3667299" y="529084"/>
                    <a:pt x="3667299" y="529084"/>
                    <a:pt x="3662006" y="502630"/>
                  </a:cubicBezTo>
                  <a:cubicBezTo>
                    <a:pt x="3662006" y="502630"/>
                    <a:pt x="3662006" y="502630"/>
                    <a:pt x="3677884" y="465595"/>
                  </a:cubicBezTo>
                  <a:cubicBezTo>
                    <a:pt x="3677884" y="465595"/>
                    <a:pt x="3677884" y="465595"/>
                    <a:pt x="3693761" y="439141"/>
                  </a:cubicBezTo>
                  <a:cubicBezTo>
                    <a:pt x="3693761" y="439141"/>
                    <a:pt x="3693761" y="439141"/>
                    <a:pt x="3683176" y="428560"/>
                  </a:cubicBezTo>
                  <a:cubicBezTo>
                    <a:pt x="3683176" y="428560"/>
                    <a:pt x="3683176" y="428560"/>
                    <a:pt x="3683176" y="417978"/>
                  </a:cubicBezTo>
                  <a:cubicBezTo>
                    <a:pt x="3683176" y="417978"/>
                    <a:pt x="3683176" y="417978"/>
                    <a:pt x="3699054" y="417978"/>
                  </a:cubicBezTo>
                  <a:cubicBezTo>
                    <a:pt x="3699054" y="417978"/>
                    <a:pt x="3699054" y="417978"/>
                    <a:pt x="3709639" y="396815"/>
                  </a:cubicBezTo>
                  <a:cubicBezTo>
                    <a:pt x="3709639" y="396815"/>
                    <a:pt x="3709639" y="396815"/>
                    <a:pt x="3751979" y="370361"/>
                  </a:cubicBezTo>
                  <a:cubicBezTo>
                    <a:pt x="3751979" y="370361"/>
                    <a:pt x="3751979" y="370361"/>
                    <a:pt x="3815489" y="343907"/>
                  </a:cubicBezTo>
                  <a:cubicBezTo>
                    <a:pt x="3815489" y="343907"/>
                    <a:pt x="3815489" y="343907"/>
                    <a:pt x="3820781" y="328035"/>
                  </a:cubicBezTo>
                  <a:cubicBezTo>
                    <a:pt x="3820781" y="328035"/>
                    <a:pt x="3820781" y="328035"/>
                    <a:pt x="3847244" y="322744"/>
                  </a:cubicBezTo>
                  <a:cubicBezTo>
                    <a:pt x="3847244" y="322744"/>
                    <a:pt x="3847244" y="322744"/>
                    <a:pt x="3841951" y="354489"/>
                  </a:cubicBezTo>
                  <a:cubicBezTo>
                    <a:pt x="3841951" y="354489"/>
                    <a:pt x="3841951" y="354489"/>
                    <a:pt x="3820781" y="365070"/>
                  </a:cubicBezTo>
                  <a:cubicBezTo>
                    <a:pt x="3820781" y="365070"/>
                    <a:pt x="3820781" y="365070"/>
                    <a:pt x="3778441" y="396815"/>
                  </a:cubicBezTo>
                  <a:cubicBezTo>
                    <a:pt x="3778441" y="396815"/>
                    <a:pt x="3778441" y="396815"/>
                    <a:pt x="3725516" y="444432"/>
                  </a:cubicBezTo>
                  <a:cubicBezTo>
                    <a:pt x="3725516" y="444432"/>
                    <a:pt x="3725516" y="444432"/>
                    <a:pt x="3704346" y="502630"/>
                  </a:cubicBezTo>
                  <a:cubicBezTo>
                    <a:pt x="3704346" y="502630"/>
                    <a:pt x="3704346" y="502630"/>
                    <a:pt x="3699054" y="544956"/>
                  </a:cubicBezTo>
                  <a:cubicBezTo>
                    <a:pt x="3699054" y="544956"/>
                    <a:pt x="3699054" y="544956"/>
                    <a:pt x="3741394" y="576701"/>
                  </a:cubicBezTo>
                  <a:cubicBezTo>
                    <a:pt x="3741394" y="576701"/>
                    <a:pt x="3741394" y="576701"/>
                    <a:pt x="3799611" y="597864"/>
                  </a:cubicBezTo>
                  <a:cubicBezTo>
                    <a:pt x="3799611" y="597864"/>
                    <a:pt x="3799611" y="597864"/>
                    <a:pt x="3831366" y="597864"/>
                  </a:cubicBezTo>
                  <a:cubicBezTo>
                    <a:pt x="3831366" y="597864"/>
                    <a:pt x="3831366" y="597864"/>
                    <a:pt x="3847244" y="592573"/>
                  </a:cubicBezTo>
                  <a:cubicBezTo>
                    <a:pt x="3847244" y="592573"/>
                    <a:pt x="3847244" y="592573"/>
                    <a:pt x="3878999" y="608445"/>
                  </a:cubicBezTo>
                  <a:cubicBezTo>
                    <a:pt x="3878999" y="608445"/>
                    <a:pt x="3878999" y="608445"/>
                    <a:pt x="3905461" y="608445"/>
                  </a:cubicBezTo>
                  <a:cubicBezTo>
                    <a:pt x="3905461" y="608445"/>
                    <a:pt x="3905461" y="608445"/>
                    <a:pt x="3942509" y="634899"/>
                  </a:cubicBezTo>
                  <a:cubicBezTo>
                    <a:pt x="3942509" y="634899"/>
                    <a:pt x="3942509" y="634899"/>
                    <a:pt x="3931924" y="608445"/>
                  </a:cubicBezTo>
                  <a:cubicBezTo>
                    <a:pt x="3931924" y="608445"/>
                    <a:pt x="3931924" y="608445"/>
                    <a:pt x="3910754" y="581992"/>
                  </a:cubicBezTo>
                  <a:cubicBezTo>
                    <a:pt x="3910754" y="581992"/>
                    <a:pt x="3910754" y="581992"/>
                    <a:pt x="3894876" y="587282"/>
                  </a:cubicBezTo>
                  <a:cubicBezTo>
                    <a:pt x="3894876" y="587282"/>
                    <a:pt x="3894876" y="587282"/>
                    <a:pt x="3889584" y="566119"/>
                  </a:cubicBezTo>
                  <a:cubicBezTo>
                    <a:pt x="3889584" y="566119"/>
                    <a:pt x="3889584" y="566119"/>
                    <a:pt x="3894876" y="550247"/>
                  </a:cubicBezTo>
                  <a:cubicBezTo>
                    <a:pt x="3894876" y="550247"/>
                    <a:pt x="3894876" y="550247"/>
                    <a:pt x="3878999" y="534375"/>
                  </a:cubicBezTo>
                  <a:cubicBezTo>
                    <a:pt x="3878999" y="534375"/>
                    <a:pt x="3878999" y="534375"/>
                    <a:pt x="3884291" y="523793"/>
                  </a:cubicBezTo>
                  <a:cubicBezTo>
                    <a:pt x="3884291" y="523793"/>
                    <a:pt x="3884291" y="523793"/>
                    <a:pt x="3905461" y="513212"/>
                  </a:cubicBezTo>
                  <a:cubicBezTo>
                    <a:pt x="3905461" y="513212"/>
                    <a:pt x="3905461" y="513212"/>
                    <a:pt x="3900169" y="486758"/>
                  </a:cubicBezTo>
                  <a:cubicBezTo>
                    <a:pt x="3900169" y="486758"/>
                    <a:pt x="3900169" y="486758"/>
                    <a:pt x="3905461" y="455013"/>
                  </a:cubicBezTo>
                  <a:cubicBezTo>
                    <a:pt x="3905461" y="455013"/>
                    <a:pt x="3905461" y="455013"/>
                    <a:pt x="3931924" y="455013"/>
                  </a:cubicBezTo>
                  <a:cubicBezTo>
                    <a:pt x="3931924" y="455013"/>
                    <a:pt x="3931924" y="455013"/>
                    <a:pt x="3958386" y="465595"/>
                  </a:cubicBezTo>
                  <a:cubicBezTo>
                    <a:pt x="3958386" y="465595"/>
                    <a:pt x="3958386" y="465595"/>
                    <a:pt x="3953093" y="507921"/>
                  </a:cubicBezTo>
                  <a:cubicBezTo>
                    <a:pt x="3953093" y="507921"/>
                    <a:pt x="3953093" y="507921"/>
                    <a:pt x="3979556" y="518502"/>
                  </a:cubicBezTo>
                  <a:cubicBezTo>
                    <a:pt x="3979556" y="518502"/>
                    <a:pt x="3979556" y="518502"/>
                    <a:pt x="3990141" y="566119"/>
                  </a:cubicBezTo>
                  <a:cubicBezTo>
                    <a:pt x="3990141" y="566119"/>
                    <a:pt x="3990141" y="566119"/>
                    <a:pt x="4016603" y="597864"/>
                  </a:cubicBezTo>
                  <a:cubicBezTo>
                    <a:pt x="4016603" y="597864"/>
                    <a:pt x="4016603" y="597864"/>
                    <a:pt x="4016603" y="619027"/>
                  </a:cubicBezTo>
                  <a:cubicBezTo>
                    <a:pt x="4016603" y="619027"/>
                    <a:pt x="4016603" y="619027"/>
                    <a:pt x="4011311" y="656062"/>
                  </a:cubicBezTo>
                  <a:cubicBezTo>
                    <a:pt x="4011311" y="656062"/>
                    <a:pt x="4011311" y="656062"/>
                    <a:pt x="3995433" y="671935"/>
                  </a:cubicBezTo>
                  <a:cubicBezTo>
                    <a:pt x="3995433" y="671935"/>
                    <a:pt x="3995433" y="671935"/>
                    <a:pt x="3979556" y="671935"/>
                  </a:cubicBezTo>
                  <a:cubicBezTo>
                    <a:pt x="3979556" y="671935"/>
                    <a:pt x="3979556" y="671935"/>
                    <a:pt x="3968971" y="682516"/>
                  </a:cubicBezTo>
                  <a:cubicBezTo>
                    <a:pt x="3968971" y="682516"/>
                    <a:pt x="3968971" y="682516"/>
                    <a:pt x="4021896" y="682516"/>
                  </a:cubicBezTo>
                  <a:cubicBezTo>
                    <a:pt x="4021896" y="682516"/>
                    <a:pt x="4021896" y="682516"/>
                    <a:pt x="4032481" y="656062"/>
                  </a:cubicBezTo>
                  <a:cubicBezTo>
                    <a:pt x="4032481" y="656062"/>
                    <a:pt x="4032481" y="656062"/>
                    <a:pt x="4043066" y="634899"/>
                  </a:cubicBezTo>
                  <a:cubicBezTo>
                    <a:pt x="4043066" y="634899"/>
                    <a:pt x="4043066" y="634899"/>
                    <a:pt x="4032481" y="603155"/>
                  </a:cubicBezTo>
                  <a:cubicBezTo>
                    <a:pt x="4032481" y="603155"/>
                    <a:pt x="4032481" y="603155"/>
                    <a:pt x="4053651" y="587282"/>
                  </a:cubicBezTo>
                  <a:cubicBezTo>
                    <a:pt x="4053651" y="587282"/>
                    <a:pt x="4053651" y="587282"/>
                    <a:pt x="4069528" y="597864"/>
                  </a:cubicBezTo>
                  <a:cubicBezTo>
                    <a:pt x="4069528" y="597864"/>
                    <a:pt x="4069528" y="597864"/>
                    <a:pt x="4085406" y="629608"/>
                  </a:cubicBezTo>
                  <a:cubicBezTo>
                    <a:pt x="4085406" y="629608"/>
                    <a:pt x="4085406" y="629608"/>
                    <a:pt x="4117161" y="640190"/>
                  </a:cubicBezTo>
                  <a:cubicBezTo>
                    <a:pt x="4117161" y="640190"/>
                    <a:pt x="4117161" y="640190"/>
                    <a:pt x="4133038" y="634899"/>
                  </a:cubicBezTo>
                  <a:cubicBezTo>
                    <a:pt x="4133038" y="634899"/>
                    <a:pt x="4133038" y="634899"/>
                    <a:pt x="4095991" y="619027"/>
                  </a:cubicBezTo>
                  <a:cubicBezTo>
                    <a:pt x="4095991" y="619027"/>
                    <a:pt x="4095991" y="619027"/>
                    <a:pt x="4085406" y="592573"/>
                  </a:cubicBezTo>
                  <a:cubicBezTo>
                    <a:pt x="4085406" y="592573"/>
                    <a:pt x="4085406" y="592573"/>
                    <a:pt x="4053651" y="576701"/>
                  </a:cubicBezTo>
                  <a:cubicBezTo>
                    <a:pt x="4053651" y="576701"/>
                    <a:pt x="4053651" y="576701"/>
                    <a:pt x="4021896" y="587282"/>
                  </a:cubicBezTo>
                  <a:cubicBezTo>
                    <a:pt x="4021896" y="587282"/>
                    <a:pt x="4021896" y="587282"/>
                    <a:pt x="4011311" y="576701"/>
                  </a:cubicBezTo>
                  <a:cubicBezTo>
                    <a:pt x="4011311" y="576701"/>
                    <a:pt x="4011311" y="576701"/>
                    <a:pt x="4011311" y="560829"/>
                  </a:cubicBezTo>
                  <a:cubicBezTo>
                    <a:pt x="4011311" y="560829"/>
                    <a:pt x="4011311" y="560829"/>
                    <a:pt x="4000726" y="550247"/>
                  </a:cubicBezTo>
                  <a:cubicBezTo>
                    <a:pt x="4000726" y="550247"/>
                    <a:pt x="4000726" y="550247"/>
                    <a:pt x="4000726" y="529084"/>
                  </a:cubicBezTo>
                  <a:cubicBezTo>
                    <a:pt x="4000726" y="529084"/>
                    <a:pt x="4000726" y="529084"/>
                    <a:pt x="3979556" y="507921"/>
                  </a:cubicBezTo>
                  <a:cubicBezTo>
                    <a:pt x="3979556" y="507921"/>
                    <a:pt x="3979556" y="507921"/>
                    <a:pt x="3984848" y="481467"/>
                  </a:cubicBezTo>
                  <a:cubicBezTo>
                    <a:pt x="3984848" y="481467"/>
                    <a:pt x="3984848" y="481467"/>
                    <a:pt x="3995433" y="460304"/>
                  </a:cubicBezTo>
                  <a:cubicBezTo>
                    <a:pt x="3995433" y="460304"/>
                    <a:pt x="3995433" y="460304"/>
                    <a:pt x="3990141" y="449723"/>
                  </a:cubicBezTo>
                  <a:cubicBezTo>
                    <a:pt x="3990141" y="449723"/>
                    <a:pt x="3990141" y="449723"/>
                    <a:pt x="3995433" y="444432"/>
                  </a:cubicBezTo>
                  <a:cubicBezTo>
                    <a:pt x="3995433" y="444432"/>
                    <a:pt x="3995433" y="444432"/>
                    <a:pt x="4016603" y="465595"/>
                  </a:cubicBezTo>
                  <a:cubicBezTo>
                    <a:pt x="4016603" y="465595"/>
                    <a:pt x="4016603" y="465595"/>
                    <a:pt x="4048358" y="470886"/>
                  </a:cubicBezTo>
                  <a:cubicBezTo>
                    <a:pt x="4048358" y="470886"/>
                    <a:pt x="4048358" y="470886"/>
                    <a:pt x="4037773" y="449723"/>
                  </a:cubicBezTo>
                  <a:cubicBezTo>
                    <a:pt x="4037773" y="449723"/>
                    <a:pt x="4037773" y="449723"/>
                    <a:pt x="4053651" y="439141"/>
                  </a:cubicBezTo>
                  <a:cubicBezTo>
                    <a:pt x="4053651" y="439141"/>
                    <a:pt x="4053651" y="439141"/>
                    <a:pt x="4085406" y="460304"/>
                  </a:cubicBezTo>
                  <a:cubicBezTo>
                    <a:pt x="4085406" y="460304"/>
                    <a:pt x="4085406" y="460304"/>
                    <a:pt x="4127746" y="470886"/>
                  </a:cubicBezTo>
                  <a:cubicBezTo>
                    <a:pt x="4127746" y="470886"/>
                    <a:pt x="4127746" y="470886"/>
                    <a:pt x="4133038" y="513212"/>
                  </a:cubicBezTo>
                  <a:cubicBezTo>
                    <a:pt x="4133038" y="513212"/>
                    <a:pt x="4133038" y="513212"/>
                    <a:pt x="4154208" y="539666"/>
                  </a:cubicBezTo>
                  <a:cubicBezTo>
                    <a:pt x="4154208" y="539666"/>
                    <a:pt x="4154208" y="539666"/>
                    <a:pt x="4170086" y="534375"/>
                  </a:cubicBezTo>
                  <a:cubicBezTo>
                    <a:pt x="4170086" y="534375"/>
                    <a:pt x="4170086" y="534375"/>
                    <a:pt x="4148916" y="507921"/>
                  </a:cubicBezTo>
                  <a:cubicBezTo>
                    <a:pt x="4148916" y="507921"/>
                    <a:pt x="4148916" y="507921"/>
                    <a:pt x="4148916" y="486758"/>
                  </a:cubicBezTo>
                  <a:cubicBezTo>
                    <a:pt x="4148916" y="486758"/>
                    <a:pt x="4148916" y="486758"/>
                    <a:pt x="4133038" y="455013"/>
                  </a:cubicBezTo>
                  <a:cubicBezTo>
                    <a:pt x="4133038" y="455013"/>
                    <a:pt x="4133038" y="455013"/>
                    <a:pt x="4090698" y="444432"/>
                  </a:cubicBezTo>
                  <a:cubicBezTo>
                    <a:pt x="4090698" y="444432"/>
                    <a:pt x="4090698" y="444432"/>
                    <a:pt x="4074821" y="428560"/>
                  </a:cubicBezTo>
                  <a:cubicBezTo>
                    <a:pt x="4074821" y="428560"/>
                    <a:pt x="4074821" y="428560"/>
                    <a:pt x="4069528" y="407397"/>
                  </a:cubicBezTo>
                  <a:cubicBezTo>
                    <a:pt x="4069528" y="407397"/>
                    <a:pt x="4069528" y="407397"/>
                    <a:pt x="4085406" y="391524"/>
                  </a:cubicBezTo>
                  <a:cubicBezTo>
                    <a:pt x="4085406" y="391524"/>
                    <a:pt x="4085406" y="391524"/>
                    <a:pt x="4122453" y="380943"/>
                  </a:cubicBezTo>
                  <a:cubicBezTo>
                    <a:pt x="4122453" y="380943"/>
                    <a:pt x="4122453" y="380943"/>
                    <a:pt x="4143623" y="370361"/>
                  </a:cubicBezTo>
                  <a:cubicBezTo>
                    <a:pt x="4143623" y="370361"/>
                    <a:pt x="4143623" y="370361"/>
                    <a:pt x="4148916" y="396815"/>
                  </a:cubicBezTo>
                  <a:cubicBezTo>
                    <a:pt x="4148916" y="396815"/>
                    <a:pt x="4148916" y="396815"/>
                    <a:pt x="4164793" y="365070"/>
                  </a:cubicBezTo>
                  <a:cubicBezTo>
                    <a:pt x="4164793" y="365070"/>
                    <a:pt x="4164793" y="365070"/>
                    <a:pt x="4143623" y="349198"/>
                  </a:cubicBezTo>
                  <a:cubicBezTo>
                    <a:pt x="4143623" y="349198"/>
                    <a:pt x="4143623" y="349198"/>
                    <a:pt x="4138331" y="328035"/>
                  </a:cubicBezTo>
                  <a:cubicBezTo>
                    <a:pt x="4138331" y="328035"/>
                    <a:pt x="4138331" y="328035"/>
                    <a:pt x="4154208" y="312163"/>
                  </a:cubicBezTo>
                  <a:cubicBezTo>
                    <a:pt x="4154208" y="312163"/>
                    <a:pt x="4154208" y="312163"/>
                    <a:pt x="4164793" y="291000"/>
                  </a:cubicBezTo>
                  <a:cubicBezTo>
                    <a:pt x="4164793" y="291000"/>
                    <a:pt x="4164793" y="291000"/>
                    <a:pt x="4191256" y="285709"/>
                  </a:cubicBezTo>
                  <a:cubicBezTo>
                    <a:pt x="4191256" y="285709"/>
                    <a:pt x="4191256" y="285709"/>
                    <a:pt x="4249473" y="238092"/>
                  </a:cubicBezTo>
                  <a:cubicBezTo>
                    <a:pt x="4249473" y="238092"/>
                    <a:pt x="4249473" y="238092"/>
                    <a:pt x="4265350" y="248674"/>
                  </a:cubicBezTo>
                  <a:cubicBezTo>
                    <a:pt x="4265350" y="248674"/>
                    <a:pt x="4265350" y="248674"/>
                    <a:pt x="4307690" y="243383"/>
                  </a:cubicBezTo>
                  <a:cubicBezTo>
                    <a:pt x="4307690" y="243383"/>
                    <a:pt x="4307690" y="243383"/>
                    <a:pt x="4281228" y="222220"/>
                  </a:cubicBezTo>
                  <a:cubicBezTo>
                    <a:pt x="4281228" y="222220"/>
                    <a:pt x="4281228" y="222220"/>
                    <a:pt x="4307690" y="211638"/>
                  </a:cubicBezTo>
                  <a:cubicBezTo>
                    <a:pt x="4307690" y="211638"/>
                    <a:pt x="4307690" y="211638"/>
                    <a:pt x="4334153" y="211638"/>
                  </a:cubicBezTo>
                  <a:cubicBezTo>
                    <a:pt x="4334153" y="211638"/>
                    <a:pt x="4334153" y="211638"/>
                    <a:pt x="4339445" y="201057"/>
                  </a:cubicBezTo>
                  <a:cubicBezTo>
                    <a:pt x="4339445" y="201057"/>
                    <a:pt x="4339445" y="201057"/>
                    <a:pt x="4323568" y="206348"/>
                  </a:cubicBezTo>
                  <a:cubicBezTo>
                    <a:pt x="4323568" y="206348"/>
                    <a:pt x="4323568" y="206348"/>
                    <a:pt x="4307690" y="190476"/>
                  </a:cubicBezTo>
                  <a:cubicBezTo>
                    <a:pt x="4307690" y="190476"/>
                    <a:pt x="4307690" y="190476"/>
                    <a:pt x="4312983" y="164022"/>
                  </a:cubicBezTo>
                  <a:cubicBezTo>
                    <a:pt x="4312983" y="164022"/>
                    <a:pt x="4312983" y="164022"/>
                    <a:pt x="4323568" y="142859"/>
                  </a:cubicBezTo>
                  <a:cubicBezTo>
                    <a:pt x="4323568" y="142859"/>
                    <a:pt x="4323568" y="142859"/>
                    <a:pt x="4339445" y="142859"/>
                  </a:cubicBezTo>
                  <a:cubicBezTo>
                    <a:pt x="4339445" y="142859"/>
                    <a:pt x="4339445" y="142859"/>
                    <a:pt x="4350030" y="174603"/>
                  </a:cubicBezTo>
                  <a:cubicBezTo>
                    <a:pt x="4350030" y="174603"/>
                    <a:pt x="4350030" y="174603"/>
                    <a:pt x="4365908" y="179894"/>
                  </a:cubicBezTo>
                  <a:cubicBezTo>
                    <a:pt x="4365908" y="179894"/>
                    <a:pt x="4365908" y="179894"/>
                    <a:pt x="4387078" y="179894"/>
                  </a:cubicBezTo>
                  <a:cubicBezTo>
                    <a:pt x="4387078" y="179894"/>
                    <a:pt x="4387078" y="179894"/>
                    <a:pt x="4429418" y="164022"/>
                  </a:cubicBezTo>
                  <a:cubicBezTo>
                    <a:pt x="4429418" y="164022"/>
                    <a:pt x="4429418" y="164022"/>
                    <a:pt x="4461173" y="153440"/>
                  </a:cubicBezTo>
                  <a:cubicBezTo>
                    <a:pt x="4461173" y="153440"/>
                    <a:pt x="4461173" y="153440"/>
                    <a:pt x="4503513" y="164022"/>
                  </a:cubicBezTo>
                  <a:cubicBezTo>
                    <a:pt x="4503513" y="164022"/>
                    <a:pt x="4503513" y="164022"/>
                    <a:pt x="4508805" y="185185"/>
                  </a:cubicBezTo>
                  <a:cubicBezTo>
                    <a:pt x="4508805" y="185185"/>
                    <a:pt x="4508805" y="185185"/>
                    <a:pt x="4482343" y="190476"/>
                  </a:cubicBezTo>
                  <a:cubicBezTo>
                    <a:pt x="4482343" y="190476"/>
                    <a:pt x="4482343" y="190476"/>
                    <a:pt x="4508805" y="201057"/>
                  </a:cubicBezTo>
                  <a:cubicBezTo>
                    <a:pt x="4508805" y="201057"/>
                    <a:pt x="4508805" y="201057"/>
                    <a:pt x="4508805" y="238092"/>
                  </a:cubicBezTo>
                  <a:cubicBezTo>
                    <a:pt x="4508805" y="238092"/>
                    <a:pt x="4508805" y="238092"/>
                    <a:pt x="4482343" y="259256"/>
                  </a:cubicBezTo>
                  <a:cubicBezTo>
                    <a:pt x="4482343" y="259256"/>
                    <a:pt x="4482343" y="259256"/>
                    <a:pt x="4440003" y="301582"/>
                  </a:cubicBezTo>
                  <a:cubicBezTo>
                    <a:pt x="4440003" y="301582"/>
                    <a:pt x="4440003" y="301582"/>
                    <a:pt x="4418833" y="343907"/>
                  </a:cubicBezTo>
                  <a:cubicBezTo>
                    <a:pt x="4418833" y="343907"/>
                    <a:pt x="4418833" y="343907"/>
                    <a:pt x="4434710" y="333326"/>
                  </a:cubicBezTo>
                  <a:cubicBezTo>
                    <a:pt x="4434710" y="333326"/>
                    <a:pt x="4434710" y="333326"/>
                    <a:pt x="4445295" y="322744"/>
                  </a:cubicBezTo>
                  <a:cubicBezTo>
                    <a:pt x="4445295" y="322744"/>
                    <a:pt x="4445295" y="322744"/>
                    <a:pt x="4466465" y="306872"/>
                  </a:cubicBezTo>
                  <a:cubicBezTo>
                    <a:pt x="4466465" y="306872"/>
                    <a:pt x="4466465" y="306872"/>
                    <a:pt x="4487635" y="296291"/>
                  </a:cubicBezTo>
                  <a:cubicBezTo>
                    <a:pt x="4487635" y="296291"/>
                    <a:pt x="4487635" y="296291"/>
                    <a:pt x="4482343" y="285709"/>
                  </a:cubicBezTo>
                  <a:cubicBezTo>
                    <a:pt x="4482343" y="285709"/>
                    <a:pt x="4482343" y="285709"/>
                    <a:pt x="4487635" y="269837"/>
                  </a:cubicBezTo>
                  <a:cubicBezTo>
                    <a:pt x="4487635" y="269837"/>
                    <a:pt x="4487635" y="269837"/>
                    <a:pt x="4519390" y="269837"/>
                  </a:cubicBezTo>
                  <a:cubicBezTo>
                    <a:pt x="4519390" y="269837"/>
                    <a:pt x="4519390" y="269837"/>
                    <a:pt x="4535268" y="264546"/>
                  </a:cubicBezTo>
                  <a:cubicBezTo>
                    <a:pt x="4535268" y="264546"/>
                    <a:pt x="4535268" y="264546"/>
                    <a:pt x="4556438" y="269837"/>
                  </a:cubicBezTo>
                  <a:cubicBezTo>
                    <a:pt x="4556438" y="269837"/>
                    <a:pt x="4556438" y="269837"/>
                    <a:pt x="4598777" y="259256"/>
                  </a:cubicBezTo>
                  <a:cubicBezTo>
                    <a:pt x="4598777" y="259256"/>
                    <a:pt x="4598777" y="259256"/>
                    <a:pt x="4619947" y="253965"/>
                  </a:cubicBezTo>
                  <a:cubicBezTo>
                    <a:pt x="4619947" y="253965"/>
                    <a:pt x="4619947" y="253965"/>
                    <a:pt x="4630532" y="269837"/>
                  </a:cubicBezTo>
                  <a:cubicBezTo>
                    <a:pt x="4630532" y="269837"/>
                    <a:pt x="4630532" y="269837"/>
                    <a:pt x="4672872" y="253965"/>
                  </a:cubicBezTo>
                  <a:cubicBezTo>
                    <a:pt x="4672872" y="253965"/>
                    <a:pt x="4672872" y="253965"/>
                    <a:pt x="4694042" y="248674"/>
                  </a:cubicBezTo>
                  <a:cubicBezTo>
                    <a:pt x="4694042" y="248674"/>
                    <a:pt x="4694042" y="248674"/>
                    <a:pt x="4699335" y="243383"/>
                  </a:cubicBezTo>
                  <a:cubicBezTo>
                    <a:pt x="4699335" y="243383"/>
                    <a:pt x="4699335" y="243383"/>
                    <a:pt x="4678165" y="238092"/>
                  </a:cubicBezTo>
                  <a:cubicBezTo>
                    <a:pt x="4678165" y="238092"/>
                    <a:pt x="4678165" y="238092"/>
                    <a:pt x="4683457" y="222220"/>
                  </a:cubicBezTo>
                  <a:cubicBezTo>
                    <a:pt x="4683457" y="222220"/>
                    <a:pt x="4683457" y="222220"/>
                    <a:pt x="4688750" y="206348"/>
                  </a:cubicBezTo>
                  <a:cubicBezTo>
                    <a:pt x="4688750" y="206348"/>
                    <a:pt x="4688750" y="206348"/>
                    <a:pt x="4725797" y="211638"/>
                  </a:cubicBezTo>
                  <a:cubicBezTo>
                    <a:pt x="4725797" y="211638"/>
                    <a:pt x="4725797" y="211638"/>
                    <a:pt x="4762845" y="206348"/>
                  </a:cubicBezTo>
                  <a:cubicBezTo>
                    <a:pt x="4762845" y="206348"/>
                    <a:pt x="4762845" y="206348"/>
                    <a:pt x="4784015" y="216929"/>
                  </a:cubicBezTo>
                  <a:cubicBezTo>
                    <a:pt x="4784015" y="216929"/>
                    <a:pt x="4784015" y="216929"/>
                    <a:pt x="4773430" y="232802"/>
                  </a:cubicBezTo>
                  <a:cubicBezTo>
                    <a:pt x="4773430" y="232802"/>
                    <a:pt x="4773430" y="232802"/>
                    <a:pt x="4757552" y="248674"/>
                  </a:cubicBezTo>
                  <a:cubicBezTo>
                    <a:pt x="4757552" y="248674"/>
                    <a:pt x="4757552" y="248674"/>
                    <a:pt x="4752260" y="253965"/>
                  </a:cubicBezTo>
                  <a:cubicBezTo>
                    <a:pt x="4752260" y="253965"/>
                    <a:pt x="4752260" y="253965"/>
                    <a:pt x="4773430" y="253965"/>
                  </a:cubicBezTo>
                  <a:cubicBezTo>
                    <a:pt x="4773430" y="253965"/>
                    <a:pt x="4773430" y="253965"/>
                    <a:pt x="4836940" y="280419"/>
                  </a:cubicBezTo>
                  <a:cubicBezTo>
                    <a:pt x="4836940" y="280419"/>
                    <a:pt x="4836940" y="280419"/>
                    <a:pt x="4868695" y="285709"/>
                  </a:cubicBezTo>
                  <a:cubicBezTo>
                    <a:pt x="4868695" y="285709"/>
                    <a:pt x="4868695" y="285709"/>
                    <a:pt x="4873987" y="275128"/>
                  </a:cubicBezTo>
                  <a:cubicBezTo>
                    <a:pt x="4873987" y="275128"/>
                    <a:pt x="4873987" y="275128"/>
                    <a:pt x="4858110" y="253965"/>
                  </a:cubicBezTo>
                  <a:cubicBezTo>
                    <a:pt x="4858110" y="253965"/>
                    <a:pt x="4858110" y="253965"/>
                    <a:pt x="4863402" y="238092"/>
                  </a:cubicBezTo>
                  <a:cubicBezTo>
                    <a:pt x="4863402" y="238092"/>
                    <a:pt x="4863402" y="238092"/>
                    <a:pt x="4884572" y="259256"/>
                  </a:cubicBezTo>
                  <a:cubicBezTo>
                    <a:pt x="4884572" y="259256"/>
                    <a:pt x="4884572" y="259256"/>
                    <a:pt x="4905742" y="253965"/>
                  </a:cubicBezTo>
                  <a:cubicBezTo>
                    <a:pt x="4905742" y="253965"/>
                    <a:pt x="4905742" y="253965"/>
                    <a:pt x="4921619" y="253965"/>
                  </a:cubicBezTo>
                  <a:cubicBezTo>
                    <a:pt x="4921619" y="253965"/>
                    <a:pt x="4921619" y="253965"/>
                    <a:pt x="4916327" y="248674"/>
                  </a:cubicBezTo>
                  <a:cubicBezTo>
                    <a:pt x="4916327" y="248674"/>
                    <a:pt x="4916327" y="248674"/>
                    <a:pt x="4916327" y="232802"/>
                  </a:cubicBezTo>
                  <a:cubicBezTo>
                    <a:pt x="4916327" y="232802"/>
                    <a:pt x="4916327" y="232802"/>
                    <a:pt x="4942789" y="238092"/>
                  </a:cubicBezTo>
                  <a:cubicBezTo>
                    <a:pt x="4942789" y="238092"/>
                    <a:pt x="4942789" y="238092"/>
                    <a:pt x="4974544" y="238092"/>
                  </a:cubicBezTo>
                  <a:cubicBezTo>
                    <a:pt x="4974544" y="238092"/>
                    <a:pt x="4974544" y="238092"/>
                    <a:pt x="4974544" y="216929"/>
                  </a:cubicBezTo>
                  <a:cubicBezTo>
                    <a:pt x="4974544" y="216929"/>
                    <a:pt x="4974544" y="216929"/>
                    <a:pt x="4974544" y="190476"/>
                  </a:cubicBezTo>
                  <a:cubicBezTo>
                    <a:pt x="4974544" y="190476"/>
                    <a:pt x="4974544" y="190476"/>
                    <a:pt x="4953374" y="190476"/>
                  </a:cubicBezTo>
                  <a:cubicBezTo>
                    <a:pt x="4953374" y="190476"/>
                    <a:pt x="4953374" y="190476"/>
                    <a:pt x="4963959" y="164022"/>
                  </a:cubicBezTo>
                  <a:cubicBezTo>
                    <a:pt x="4963959" y="164022"/>
                    <a:pt x="4963959" y="164022"/>
                    <a:pt x="5001007" y="153440"/>
                  </a:cubicBezTo>
                  <a:cubicBezTo>
                    <a:pt x="5001007" y="153440"/>
                    <a:pt x="5001007" y="153440"/>
                    <a:pt x="5059224" y="148150"/>
                  </a:cubicBezTo>
                  <a:cubicBezTo>
                    <a:pt x="5059224" y="148150"/>
                    <a:pt x="5059224" y="148150"/>
                    <a:pt x="5064517" y="179894"/>
                  </a:cubicBezTo>
                  <a:cubicBezTo>
                    <a:pt x="5064517" y="179894"/>
                    <a:pt x="5064517" y="179894"/>
                    <a:pt x="5080394" y="190476"/>
                  </a:cubicBezTo>
                  <a:cubicBezTo>
                    <a:pt x="5080394" y="190476"/>
                    <a:pt x="5080394" y="190476"/>
                    <a:pt x="5090979" y="169313"/>
                  </a:cubicBezTo>
                  <a:cubicBezTo>
                    <a:pt x="5090979" y="169313"/>
                    <a:pt x="5090979" y="169313"/>
                    <a:pt x="5085687" y="142859"/>
                  </a:cubicBezTo>
                  <a:cubicBezTo>
                    <a:pt x="5085687" y="142859"/>
                    <a:pt x="5085687" y="142859"/>
                    <a:pt x="5112149" y="137568"/>
                  </a:cubicBezTo>
                  <a:cubicBezTo>
                    <a:pt x="5112149" y="137568"/>
                    <a:pt x="5112149" y="137568"/>
                    <a:pt x="5133319" y="148150"/>
                  </a:cubicBezTo>
                  <a:cubicBezTo>
                    <a:pt x="5133319" y="148150"/>
                    <a:pt x="5133319" y="148150"/>
                    <a:pt x="5128027" y="158731"/>
                  </a:cubicBezTo>
                  <a:cubicBezTo>
                    <a:pt x="5128027" y="158731"/>
                    <a:pt x="5128027" y="158731"/>
                    <a:pt x="5165074" y="158731"/>
                  </a:cubicBezTo>
                  <a:cubicBezTo>
                    <a:pt x="5165074" y="158731"/>
                    <a:pt x="5165074" y="158731"/>
                    <a:pt x="5212707" y="174603"/>
                  </a:cubicBezTo>
                  <a:cubicBezTo>
                    <a:pt x="5212707" y="174603"/>
                    <a:pt x="5212707" y="174603"/>
                    <a:pt x="5217999" y="158731"/>
                  </a:cubicBezTo>
                  <a:cubicBezTo>
                    <a:pt x="5217999" y="158731"/>
                    <a:pt x="5217999" y="158731"/>
                    <a:pt x="5255046" y="132277"/>
                  </a:cubicBezTo>
                  <a:cubicBezTo>
                    <a:pt x="5255046" y="132277"/>
                    <a:pt x="5255046" y="132277"/>
                    <a:pt x="5286801" y="121696"/>
                  </a:cubicBezTo>
                  <a:cubicBezTo>
                    <a:pt x="5286801" y="121696"/>
                    <a:pt x="5286801" y="121696"/>
                    <a:pt x="5329141" y="126986"/>
                  </a:cubicBezTo>
                  <a:cubicBezTo>
                    <a:pt x="5329141" y="126986"/>
                    <a:pt x="5329141" y="126986"/>
                    <a:pt x="5329141" y="158731"/>
                  </a:cubicBezTo>
                  <a:cubicBezTo>
                    <a:pt x="5329141" y="158731"/>
                    <a:pt x="5329141" y="158731"/>
                    <a:pt x="5366189" y="179894"/>
                  </a:cubicBezTo>
                  <a:cubicBezTo>
                    <a:pt x="5366189" y="179894"/>
                    <a:pt x="5366189" y="179894"/>
                    <a:pt x="5376774" y="158731"/>
                  </a:cubicBezTo>
                  <a:cubicBezTo>
                    <a:pt x="5376774" y="158731"/>
                    <a:pt x="5376774" y="158731"/>
                    <a:pt x="5397944" y="148150"/>
                  </a:cubicBezTo>
                  <a:cubicBezTo>
                    <a:pt x="5397944" y="148150"/>
                    <a:pt x="5397944" y="148150"/>
                    <a:pt x="5456161" y="132277"/>
                  </a:cubicBezTo>
                  <a:cubicBezTo>
                    <a:pt x="5456161" y="132277"/>
                    <a:pt x="5456161" y="132277"/>
                    <a:pt x="5456161" y="116405"/>
                  </a:cubicBezTo>
                  <a:cubicBezTo>
                    <a:pt x="5456161" y="116405"/>
                    <a:pt x="5456161" y="116405"/>
                    <a:pt x="5477331" y="132277"/>
                  </a:cubicBezTo>
                  <a:cubicBezTo>
                    <a:pt x="5477331" y="132277"/>
                    <a:pt x="5477331" y="132277"/>
                    <a:pt x="5519671" y="142859"/>
                  </a:cubicBezTo>
                  <a:cubicBezTo>
                    <a:pt x="5519671" y="142859"/>
                    <a:pt x="5519671" y="142859"/>
                    <a:pt x="5524964" y="137568"/>
                  </a:cubicBezTo>
                  <a:cubicBezTo>
                    <a:pt x="5524964" y="137568"/>
                    <a:pt x="5524964" y="137568"/>
                    <a:pt x="5519671" y="111114"/>
                  </a:cubicBezTo>
                  <a:cubicBezTo>
                    <a:pt x="5519671" y="111114"/>
                    <a:pt x="5519671" y="111114"/>
                    <a:pt x="5503794" y="105823"/>
                  </a:cubicBezTo>
                  <a:cubicBezTo>
                    <a:pt x="5503794" y="105823"/>
                    <a:pt x="5503794" y="105823"/>
                    <a:pt x="5493209" y="84660"/>
                  </a:cubicBezTo>
                  <a:cubicBezTo>
                    <a:pt x="5493209" y="84660"/>
                    <a:pt x="5493209" y="84660"/>
                    <a:pt x="5514379" y="68788"/>
                  </a:cubicBezTo>
                  <a:cubicBezTo>
                    <a:pt x="5514379" y="68788"/>
                    <a:pt x="5514379" y="68788"/>
                    <a:pt x="5540841" y="74079"/>
                  </a:cubicBezTo>
                  <a:cubicBezTo>
                    <a:pt x="5540841" y="74079"/>
                    <a:pt x="5540841" y="74079"/>
                    <a:pt x="5614936" y="58207"/>
                  </a:cubicBezTo>
                  <a:cubicBezTo>
                    <a:pt x="5614936" y="58207"/>
                    <a:pt x="5614936" y="58207"/>
                    <a:pt x="5657276" y="47625"/>
                  </a:cubicBezTo>
                  <a:close/>
                  <a:moveTo>
                    <a:pt x="5059358" y="0"/>
                  </a:moveTo>
                  <a:lnTo>
                    <a:pt x="5079996" y="11113"/>
                  </a:lnTo>
                  <a:lnTo>
                    <a:pt x="5054596" y="36513"/>
                  </a:lnTo>
                  <a:lnTo>
                    <a:pt x="4995858" y="42863"/>
                  </a:lnTo>
                  <a:lnTo>
                    <a:pt x="4959346" y="52388"/>
                  </a:lnTo>
                  <a:lnTo>
                    <a:pt x="4932358" y="31750"/>
                  </a:lnTo>
                  <a:lnTo>
                    <a:pt x="4932358" y="63500"/>
                  </a:lnTo>
                  <a:lnTo>
                    <a:pt x="4911721" y="84138"/>
                  </a:lnTo>
                  <a:lnTo>
                    <a:pt x="4895846" y="106363"/>
                  </a:lnTo>
                  <a:lnTo>
                    <a:pt x="4848221" y="84138"/>
                  </a:lnTo>
                  <a:lnTo>
                    <a:pt x="4848221" y="52388"/>
                  </a:lnTo>
                  <a:lnTo>
                    <a:pt x="4864096" y="42863"/>
                  </a:lnTo>
                  <a:lnTo>
                    <a:pt x="4900608" y="47625"/>
                  </a:lnTo>
                  <a:lnTo>
                    <a:pt x="4884733" y="20638"/>
                  </a:lnTo>
                  <a:lnTo>
                    <a:pt x="4900608" y="15875"/>
                  </a:lnTo>
                  <a:lnTo>
                    <a:pt x="4921246" y="20638"/>
                  </a:lnTo>
                  <a:lnTo>
                    <a:pt x="4948233" y="11113"/>
                  </a:lnTo>
                  <a:lnTo>
                    <a:pt x="4979983" y="11113"/>
                  </a:lnTo>
                  <a:lnTo>
                    <a:pt x="5027608" y="11113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19" name="ValueBack2"/>
            <p:cNvSpPr/>
            <p:nvPr/>
          </p:nvSpPr>
          <p:spPr bwMode="auto">
            <a:xfrm>
              <a:off x="2338872" y="3457596"/>
              <a:ext cx="962026" cy="1231576"/>
            </a:xfrm>
            <a:custGeom>
              <a:avLst/>
              <a:gdLst>
                <a:gd name="T0" fmla="*/ 124 w 124"/>
                <a:gd name="T1" fmla="*/ 62 h 159"/>
                <a:gd name="T2" fmla="*/ 62 w 124"/>
                <a:gd name="T3" fmla="*/ 159 h 159"/>
                <a:gd name="T4" fmla="*/ 0 w 124"/>
                <a:gd name="T5" fmla="*/ 62 h 159"/>
                <a:gd name="T6" fmla="*/ 62 w 124"/>
                <a:gd name="T7" fmla="*/ 0 h 159"/>
                <a:gd name="T8" fmla="*/ 124 w 124"/>
                <a:gd name="T9" fmla="*/ 62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4" h="159">
                  <a:moveTo>
                    <a:pt x="124" y="62"/>
                  </a:moveTo>
                  <a:cubicBezTo>
                    <a:pt x="124" y="96"/>
                    <a:pt x="62" y="159"/>
                    <a:pt x="62" y="159"/>
                  </a:cubicBezTo>
                  <a:cubicBezTo>
                    <a:pt x="62" y="159"/>
                    <a:pt x="0" y="96"/>
                    <a:pt x="0" y="62"/>
                  </a:cubicBezTo>
                  <a:cubicBezTo>
                    <a:pt x="0" y="28"/>
                    <a:pt x="28" y="0"/>
                    <a:pt x="62" y="0"/>
                  </a:cubicBezTo>
                  <a:cubicBezTo>
                    <a:pt x="96" y="0"/>
                    <a:pt x="124" y="28"/>
                    <a:pt x="124" y="62"/>
                  </a:cubicBezTo>
                  <a:close/>
                </a:path>
              </a:pathLst>
            </a:custGeom>
            <a:solidFill>
              <a:schemeClr val="accent1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" name="ExtraShape1"/>
            <p:cNvSpPr/>
            <p:nvPr/>
          </p:nvSpPr>
          <p:spPr bwMode="auto">
            <a:xfrm>
              <a:off x="2597635" y="3729442"/>
              <a:ext cx="450850" cy="44926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" name="ValueBack2"/>
            <p:cNvSpPr/>
            <p:nvPr/>
          </p:nvSpPr>
          <p:spPr bwMode="auto">
            <a:xfrm>
              <a:off x="2724635" y="3813579"/>
              <a:ext cx="190500" cy="274638"/>
            </a:xfrm>
            <a:custGeom>
              <a:avLst/>
              <a:gdLst>
                <a:gd name="T0" fmla="*/ 0 w 36"/>
                <a:gd name="T1" fmla="*/ 52 h 52"/>
                <a:gd name="T2" fmla="*/ 0 w 36"/>
                <a:gd name="T3" fmla="*/ 45 h 52"/>
                <a:gd name="T4" fmla="*/ 7 w 36"/>
                <a:gd name="T5" fmla="*/ 39 h 52"/>
                <a:gd name="T6" fmla="*/ 23 w 36"/>
                <a:gd name="T7" fmla="*/ 17 h 52"/>
                <a:gd name="T8" fmla="*/ 15 w 36"/>
                <a:gd name="T9" fmla="*/ 10 h 52"/>
                <a:gd name="T10" fmla="*/ 4 w 36"/>
                <a:gd name="T11" fmla="*/ 14 h 52"/>
                <a:gd name="T12" fmla="*/ 1 w 36"/>
                <a:gd name="T13" fmla="*/ 6 h 52"/>
                <a:gd name="T14" fmla="*/ 17 w 36"/>
                <a:gd name="T15" fmla="*/ 0 h 52"/>
                <a:gd name="T16" fmla="*/ 35 w 36"/>
                <a:gd name="T17" fmla="*/ 16 h 52"/>
                <a:gd name="T18" fmla="*/ 22 w 36"/>
                <a:gd name="T19" fmla="*/ 38 h 52"/>
                <a:gd name="T20" fmla="*/ 17 w 36"/>
                <a:gd name="T21" fmla="*/ 42 h 52"/>
                <a:gd name="T22" fmla="*/ 17 w 36"/>
                <a:gd name="T23" fmla="*/ 42 h 52"/>
                <a:gd name="T24" fmla="*/ 36 w 36"/>
                <a:gd name="T25" fmla="*/ 42 h 52"/>
                <a:gd name="T26" fmla="*/ 36 w 36"/>
                <a:gd name="T27" fmla="*/ 52 h 52"/>
                <a:gd name="T28" fmla="*/ 0 w 36"/>
                <a:gd name="T2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52">
                  <a:moveTo>
                    <a:pt x="0" y="52"/>
                  </a:moveTo>
                  <a:cubicBezTo>
                    <a:pt x="0" y="45"/>
                    <a:pt x="0" y="45"/>
                    <a:pt x="0" y="45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18" y="29"/>
                    <a:pt x="23" y="23"/>
                    <a:pt x="23" y="17"/>
                  </a:cubicBezTo>
                  <a:cubicBezTo>
                    <a:pt x="23" y="13"/>
                    <a:pt x="21" y="10"/>
                    <a:pt x="15" y="10"/>
                  </a:cubicBezTo>
                  <a:cubicBezTo>
                    <a:pt x="11" y="10"/>
                    <a:pt x="7" y="12"/>
                    <a:pt x="4" y="14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5" y="3"/>
                    <a:pt x="10" y="0"/>
                    <a:pt x="17" y="0"/>
                  </a:cubicBezTo>
                  <a:cubicBezTo>
                    <a:pt x="29" y="0"/>
                    <a:pt x="35" y="7"/>
                    <a:pt x="35" y="16"/>
                  </a:cubicBezTo>
                  <a:cubicBezTo>
                    <a:pt x="35" y="25"/>
                    <a:pt x="29" y="32"/>
                    <a:pt x="22" y="38"/>
                  </a:cubicBezTo>
                  <a:cubicBezTo>
                    <a:pt x="17" y="42"/>
                    <a:pt x="17" y="42"/>
                    <a:pt x="17" y="42"/>
                  </a:cubicBezTo>
                  <a:cubicBezTo>
                    <a:pt x="17" y="42"/>
                    <a:pt x="17" y="42"/>
                    <a:pt x="17" y="42"/>
                  </a:cubicBezTo>
                  <a:cubicBezTo>
                    <a:pt x="36" y="42"/>
                    <a:pt x="36" y="42"/>
                    <a:pt x="36" y="42"/>
                  </a:cubicBezTo>
                  <a:cubicBezTo>
                    <a:pt x="36" y="52"/>
                    <a:pt x="36" y="52"/>
                    <a:pt x="36" y="52"/>
                  </a:cubicBezTo>
                  <a:lnTo>
                    <a:pt x="0" y="52"/>
                  </a:lnTo>
                  <a:close/>
                </a:path>
              </a:pathLst>
            </a:custGeom>
            <a:solidFill>
              <a:schemeClr val="accent1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" name="ValueBack3"/>
            <p:cNvSpPr/>
            <p:nvPr/>
          </p:nvSpPr>
          <p:spPr bwMode="auto">
            <a:xfrm>
              <a:off x="6123472" y="3822721"/>
              <a:ext cx="962026" cy="1231576"/>
            </a:xfrm>
            <a:custGeom>
              <a:avLst/>
              <a:gdLst>
                <a:gd name="T0" fmla="*/ 124 w 124"/>
                <a:gd name="T1" fmla="*/ 62 h 159"/>
                <a:gd name="T2" fmla="*/ 62 w 124"/>
                <a:gd name="T3" fmla="*/ 159 h 159"/>
                <a:gd name="T4" fmla="*/ 0 w 124"/>
                <a:gd name="T5" fmla="*/ 62 h 159"/>
                <a:gd name="T6" fmla="*/ 62 w 124"/>
                <a:gd name="T7" fmla="*/ 0 h 159"/>
                <a:gd name="T8" fmla="*/ 124 w 124"/>
                <a:gd name="T9" fmla="*/ 62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4" h="159">
                  <a:moveTo>
                    <a:pt x="124" y="62"/>
                  </a:moveTo>
                  <a:cubicBezTo>
                    <a:pt x="124" y="96"/>
                    <a:pt x="62" y="159"/>
                    <a:pt x="62" y="159"/>
                  </a:cubicBezTo>
                  <a:cubicBezTo>
                    <a:pt x="62" y="159"/>
                    <a:pt x="0" y="96"/>
                    <a:pt x="0" y="62"/>
                  </a:cubicBezTo>
                  <a:cubicBezTo>
                    <a:pt x="0" y="28"/>
                    <a:pt x="28" y="0"/>
                    <a:pt x="62" y="0"/>
                  </a:cubicBezTo>
                  <a:cubicBezTo>
                    <a:pt x="97" y="0"/>
                    <a:pt x="124" y="28"/>
                    <a:pt x="124" y="62"/>
                  </a:cubicBezTo>
                  <a:close/>
                </a:path>
              </a:pathLst>
            </a:custGeom>
            <a:solidFill>
              <a:schemeClr val="accent6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" name="ExtraShape2"/>
            <p:cNvSpPr/>
            <p:nvPr/>
          </p:nvSpPr>
          <p:spPr bwMode="auto">
            <a:xfrm>
              <a:off x="6382235" y="4074057"/>
              <a:ext cx="449262" cy="44926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" name="ValueBack3"/>
            <p:cNvSpPr/>
            <p:nvPr/>
          </p:nvSpPr>
          <p:spPr bwMode="auto">
            <a:xfrm>
              <a:off x="6509235" y="4169307"/>
              <a:ext cx="179387" cy="263525"/>
            </a:xfrm>
            <a:custGeom>
              <a:avLst/>
              <a:gdLst>
                <a:gd name="T0" fmla="*/ 3 w 34"/>
                <a:gd name="T1" fmla="*/ 38 h 50"/>
                <a:gd name="T2" fmla="*/ 14 w 34"/>
                <a:gd name="T3" fmla="*/ 41 h 50"/>
                <a:gd name="T4" fmla="*/ 23 w 34"/>
                <a:gd name="T5" fmla="*/ 35 h 50"/>
                <a:gd name="T6" fmla="*/ 13 w 34"/>
                <a:gd name="T7" fmla="*/ 28 h 50"/>
                <a:gd name="T8" fmla="*/ 8 w 34"/>
                <a:gd name="T9" fmla="*/ 28 h 50"/>
                <a:gd name="T10" fmla="*/ 8 w 34"/>
                <a:gd name="T11" fmla="*/ 20 h 50"/>
                <a:gd name="T12" fmla="*/ 13 w 34"/>
                <a:gd name="T13" fmla="*/ 20 h 50"/>
                <a:gd name="T14" fmla="*/ 21 w 34"/>
                <a:gd name="T15" fmla="*/ 14 h 50"/>
                <a:gd name="T16" fmla="*/ 14 w 34"/>
                <a:gd name="T17" fmla="*/ 9 h 50"/>
                <a:gd name="T18" fmla="*/ 4 w 34"/>
                <a:gd name="T19" fmla="*/ 12 h 50"/>
                <a:gd name="T20" fmla="*/ 2 w 34"/>
                <a:gd name="T21" fmla="*/ 4 h 50"/>
                <a:gd name="T22" fmla="*/ 17 w 34"/>
                <a:gd name="T23" fmla="*/ 0 h 50"/>
                <a:gd name="T24" fmla="*/ 33 w 34"/>
                <a:gd name="T25" fmla="*/ 12 h 50"/>
                <a:gd name="T26" fmla="*/ 24 w 34"/>
                <a:gd name="T27" fmla="*/ 24 h 50"/>
                <a:gd name="T28" fmla="*/ 24 w 34"/>
                <a:gd name="T29" fmla="*/ 24 h 50"/>
                <a:gd name="T30" fmla="*/ 34 w 34"/>
                <a:gd name="T31" fmla="*/ 35 h 50"/>
                <a:gd name="T32" fmla="*/ 15 w 34"/>
                <a:gd name="T33" fmla="*/ 50 h 50"/>
                <a:gd name="T34" fmla="*/ 0 w 34"/>
                <a:gd name="T35" fmla="*/ 47 h 50"/>
                <a:gd name="T36" fmla="*/ 3 w 34"/>
                <a:gd name="T37" fmla="*/ 3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" h="50">
                  <a:moveTo>
                    <a:pt x="3" y="38"/>
                  </a:moveTo>
                  <a:cubicBezTo>
                    <a:pt x="5" y="39"/>
                    <a:pt x="9" y="41"/>
                    <a:pt x="14" y="41"/>
                  </a:cubicBezTo>
                  <a:cubicBezTo>
                    <a:pt x="20" y="41"/>
                    <a:pt x="23" y="39"/>
                    <a:pt x="23" y="35"/>
                  </a:cubicBezTo>
                  <a:cubicBezTo>
                    <a:pt x="23" y="30"/>
                    <a:pt x="18" y="28"/>
                    <a:pt x="13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6" y="20"/>
                    <a:pt x="21" y="18"/>
                    <a:pt x="21" y="14"/>
                  </a:cubicBezTo>
                  <a:cubicBezTo>
                    <a:pt x="21" y="11"/>
                    <a:pt x="19" y="9"/>
                    <a:pt x="14" y="9"/>
                  </a:cubicBezTo>
                  <a:cubicBezTo>
                    <a:pt x="10" y="9"/>
                    <a:pt x="6" y="11"/>
                    <a:pt x="4" y="12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5" y="2"/>
                    <a:pt x="10" y="0"/>
                    <a:pt x="17" y="0"/>
                  </a:cubicBezTo>
                  <a:cubicBezTo>
                    <a:pt x="27" y="0"/>
                    <a:pt x="33" y="6"/>
                    <a:pt x="33" y="12"/>
                  </a:cubicBezTo>
                  <a:cubicBezTo>
                    <a:pt x="33" y="18"/>
                    <a:pt x="30" y="22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30" y="25"/>
                    <a:pt x="34" y="29"/>
                    <a:pt x="34" y="35"/>
                  </a:cubicBezTo>
                  <a:cubicBezTo>
                    <a:pt x="34" y="44"/>
                    <a:pt x="27" y="50"/>
                    <a:pt x="15" y="50"/>
                  </a:cubicBezTo>
                  <a:cubicBezTo>
                    <a:pt x="8" y="50"/>
                    <a:pt x="3" y="49"/>
                    <a:pt x="0" y="47"/>
                  </a:cubicBezTo>
                  <a:lnTo>
                    <a:pt x="3" y="38"/>
                  </a:lnTo>
                  <a:close/>
                </a:path>
              </a:pathLst>
            </a:custGeom>
            <a:solidFill>
              <a:schemeClr val="accent6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" name="ValueBack1"/>
            <p:cNvSpPr/>
            <p:nvPr/>
          </p:nvSpPr>
          <p:spPr bwMode="auto">
            <a:xfrm>
              <a:off x="5539272" y="1397596"/>
              <a:ext cx="923926" cy="1182800"/>
            </a:xfrm>
            <a:custGeom>
              <a:avLst/>
              <a:gdLst>
                <a:gd name="T0" fmla="*/ 124 w 124"/>
                <a:gd name="T1" fmla="*/ 62 h 159"/>
                <a:gd name="T2" fmla="*/ 62 w 124"/>
                <a:gd name="T3" fmla="*/ 159 h 159"/>
                <a:gd name="T4" fmla="*/ 0 w 124"/>
                <a:gd name="T5" fmla="*/ 62 h 159"/>
                <a:gd name="T6" fmla="*/ 62 w 124"/>
                <a:gd name="T7" fmla="*/ 0 h 159"/>
                <a:gd name="T8" fmla="*/ 124 w 124"/>
                <a:gd name="T9" fmla="*/ 62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4" h="159">
                  <a:moveTo>
                    <a:pt x="124" y="62"/>
                  </a:moveTo>
                  <a:cubicBezTo>
                    <a:pt x="124" y="96"/>
                    <a:pt x="62" y="159"/>
                    <a:pt x="62" y="159"/>
                  </a:cubicBezTo>
                  <a:cubicBezTo>
                    <a:pt x="62" y="159"/>
                    <a:pt x="0" y="96"/>
                    <a:pt x="0" y="62"/>
                  </a:cubicBezTo>
                  <a:cubicBezTo>
                    <a:pt x="0" y="27"/>
                    <a:pt x="27" y="0"/>
                    <a:pt x="62" y="0"/>
                  </a:cubicBezTo>
                  <a:cubicBezTo>
                    <a:pt x="96" y="0"/>
                    <a:pt x="124" y="27"/>
                    <a:pt x="124" y="62"/>
                  </a:cubicBez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" name="ExtraShape3"/>
            <p:cNvSpPr/>
            <p:nvPr/>
          </p:nvSpPr>
          <p:spPr bwMode="auto">
            <a:xfrm>
              <a:off x="5774222" y="1614346"/>
              <a:ext cx="449262" cy="4445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" name="ValueBack1"/>
            <p:cNvSpPr/>
            <p:nvPr/>
          </p:nvSpPr>
          <p:spPr bwMode="auto">
            <a:xfrm>
              <a:off x="5917097" y="1700071"/>
              <a:ext cx="127000" cy="274638"/>
            </a:xfrm>
            <a:custGeom>
              <a:avLst/>
              <a:gdLst>
                <a:gd name="T0" fmla="*/ 40 w 80"/>
                <a:gd name="T1" fmla="*/ 36 h 173"/>
                <a:gd name="T2" fmla="*/ 40 w 80"/>
                <a:gd name="T3" fmla="*/ 36 h 173"/>
                <a:gd name="T4" fmla="*/ 6 w 80"/>
                <a:gd name="T5" fmla="*/ 53 h 173"/>
                <a:gd name="T6" fmla="*/ 0 w 80"/>
                <a:gd name="T7" fmla="*/ 23 h 173"/>
                <a:gd name="T8" fmla="*/ 46 w 80"/>
                <a:gd name="T9" fmla="*/ 0 h 173"/>
                <a:gd name="T10" fmla="*/ 80 w 80"/>
                <a:gd name="T11" fmla="*/ 0 h 173"/>
                <a:gd name="T12" fmla="*/ 80 w 80"/>
                <a:gd name="T13" fmla="*/ 173 h 173"/>
                <a:gd name="T14" fmla="*/ 40 w 80"/>
                <a:gd name="T15" fmla="*/ 173 h 173"/>
                <a:gd name="T16" fmla="*/ 40 w 80"/>
                <a:gd name="T17" fmla="*/ 36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173">
                  <a:moveTo>
                    <a:pt x="40" y="36"/>
                  </a:moveTo>
                  <a:lnTo>
                    <a:pt x="40" y="36"/>
                  </a:lnTo>
                  <a:lnTo>
                    <a:pt x="6" y="53"/>
                  </a:lnTo>
                  <a:lnTo>
                    <a:pt x="0" y="23"/>
                  </a:lnTo>
                  <a:lnTo>
                    <a:pt x="46" y="0"/>
                  </a:lnTo>
                  <a:lnTo>
                    <a:pt x="80" y="0"/>
                  </a:lnTo>
                  <a:lnTo>
                    <a:pt x="80" y="173"/>
                  </a:lnTo>
                  <a:lnTo>
                    <a:pt x="40" y="173"/>
                  </a:lnTo>
                  <a:lnTo>
                    <a:pt x="40" y="36"/>
                  </a:ln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" name="ValueShape1"/>
            <p:cNvSpPr/>
            <p:nvPr/>
          </p:nvSpPr>
          <p:spPr>
            <a:xfrm>
              <a:off x="5666409" y="1501770"/>
              <a:ext cx="669652" cy="669652"/>
            </a:xfrm>
            <a:prstGeom prst="arc">
              <a:avLst>
                <a:gd name="adj1" fmla="val 16200000"/>
                <a:gd name="adj2" fmla="val 9553846"/>
              </a:avLst>
            </a:prstGeom>
            <a:ln w="50800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9" name="ValueShape2"/>
            <p:cNvSpPr/>
            <p:nvPr/>
          </p:nvSpPr>
          <p:spPr>
            <a:xfrm>
              <a:off x="2485059" y="3616072"/>
              <a:ext cx="669652" cy="669652"/>
            </a:xfrm>
            <a:prstGeom prst="arc">
              <a:avLst>
                <a:gd name="adj1" fmla="val 16200000"/>
                <a:gd name="adj2" fmla="val 10185231"/>
              </a:avLst>
            </a:prstGeom>
            <a:ln w="50800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0" name="ValueShape3"/>
            <p:cNvSpPr/>
            <p:nvPr/>
          </p:nvSpPr>
          <p:spPr>
            <a:xfrm>
              <a:off x="6256555" y="3954074"/>
              <a:ext cx="669652" cy="669652"/>
            </a:xfrm>
            <a:prstGeom prst="arc">
              <a:avLst>
                <a:gd name="adj1" fmla="val 16200000"/>
                <a:gd name="adj2" fmla="val 11215385"/>
              </a:avLst>
            </a:prstGeom>
            <a:ln w="50800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1" name="ValueText1"/>
            <p:cNvSpPr/>
            <p:nvPr/>
          </p:nvSpPr>
          <p:spPr>
            <a:xfrm>
              <a:off x="5785129" y="1055692"/>
              <a:ext cx="499453" cy="249820"/>
            </a:xfrm>
            <a:prstGeom prst="rect">
              <a:avLst/>
            </a:prstGeom>
          </p:spPr>
          <p:txBody>
            <a:bodyPr wrap="none" lIns="90000" tIns="46800" rIns="90000" bIns="46800" anchor="ctr" anchorCtr="1">
              <a:prstTxWarp prst="textPlain">
                <a:avLst/>
              </a:prstTxWarp>
              <a:normAutofit fontScale="250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3800" kern="0">
                  <a:solidFill>
                    <a:schemeClr val="accent2">
                      <a:lumMod val="100000"/>
                    </a:schemeClr>
                  </a:solidFill>
                  <a:latin typeface="Impact" panose="020B0806030902050204" pitchFamily="34" charset="0"/>
                </a:rPr>
                <a:t>69%</a:t>
              </a:r>
              <a:endParaRPr lang="zh-CN" altLang="en-US" sz="13800" dirty="0">
                <a:solidFill>
                  <a:schemeClr val="accent2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32" name="ValueText2"/>
            <p:cNvSpPr/>
            <p:nvPr/>
          </p:nvSpPr>
          <p:spPr>
            <a:xfrm>
              <a:off x="2655258" y="3123174"/>
              <a:ext cx="499453" cy="249820"/>
            </a:xfrm>
            <a:prstGeom prst="rect">
              <a:avLst/>
            </a:prstGeom>
          </p:spPr>
          <p:txBody>
            <a:bodyPr wrap="none" lIns="90000" tIns="46800" rIns="90000" bIns="46800" anchor="ctr" anchorCtr="1">
              <a:prstTxWarp prst="textPlain">
                <a:avLst/>
              </a:prstTxWarp>
              <a:normAutofit fontScale="250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3800" kern="0">
                  <a:solidFill>
                    <a:schemeClr val="accent1">
                      <a:lumMod val="100000"/>
                    </a:schemeClr>
                  </a:solidFill>
                  <a:latin typeface="Impact" panose="020B0806030902050204" pitchFamily="34" charset="0"/>
                </a:rPr>
                <a:t>72%</a:t>
              </a:r>
              <a:endParaRPr lang="zh-CN" altLang="en-US" sz="13800" dirty="0">
                <a:solidFill>
                  <a:schemeClr val="accent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33" name="ValueText3"/>
            <p:cNvSpPr/>
            <p:nvPr/>
          </p:nvSpPr>
          <p:spPr>
            <a:xfrm>
              <a:off x="6463198" y="3455602"/>
              <a:ext cx="499453" cy="249820"/>
            </a:xfrm>
            <a:prstGeom prst="rect">
              <a:avLst/>
            </a:prstGeom>
          </p:spPr>
          <p:txBody>
            <a:bodyPr wrap="none" lIns="90000" tIns="46800" rIns="90000" bIns="46800" anchor="ctr" anchorCtr="1">
              <a:prstTxWarp prst="textPlain">
                <a:avLst/>
              </a:prstTxWarp>
              <a:normAutofit fontScale="250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3800" kern="0">
                  <a:solidFill>
                    <a:schemeClr val="accent6">
                      <a:lumMod val="100000"/>
                    </a:schemeClr>
                  </a:solidFill>
                  <a:latin typeface="Impact" panose="020B0806030902050204" pitchFamily="34" charset="0"/>
                </a:rPr>
                <a:t>77%</a:t>
              </a:r>
              <a:endParaRPr lang="zh-CN" altLang="en-US" sz="13800" dirty="0">
                <a:solidFill>
                  <a:schemeClr val="accent6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</p:grpSp>
      <p:sp>
        <p:nvSpPr>
          <p:cNvPr id="36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37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4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单元测试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2a6b0aaa-bdaa-4196-874b-f9df3c383250" descr="IxUAAB+LCAAAAAAABADNll1v2jAUhv+L192hKY7NR7iDUbZJ64pK1ZupF1k4gKd8IMdU/VD/+5wQip3EKM6E4C468XHec97z2HlDV2yBhgijDroSLxuQz/PI52LC/BX3o5tkAaF8N+PJBrhgkKLh77ciyVWSHvxwC8WqFxm/YTGLtlEeRkPniyND/rMSwk4enEDAIj+csBUTcm8Z+ZHOgAcQi2Kh4FvoIHWjbzzZbnLR7529FqJo+ZqECVe0FLn7pVRZertcsgDu1xBBniVf3bNYjOLFfO0v9h8cc7ZaixjStAjc/vkLgVDShn2ZmG+ZL9+ma7n5p+mUjgdkOpU6a0V31a4LzuJVVTVyPqP67J6SPU6SEPy4mr7rXl16/8zuuYqWQXP3vP90j9a5h516+7zr6+5opNqnqsaOtX9aOrY3UMs/N39EFWMBID4JgV69heR6jKdUtVCTbY+glt6CQS3/3BBSVYwFhfgkGPbqLRzQsacfoqps155CLb0FhTL/USpk8UJ+TLsRVSRnScoES+Ji3eEWfcn7yGFZAI1mvrxqQQBPDx12Sc1WysIO+p5w9prEwg9HIVvFkfRbLv0JS5Hpzm7rQH8lmwMiWKNsQIrhmrNXuIMU+BPIjy79MN0PirRuA7/k1/aTmQeyZt1B6Av2pK3QYvKWUfqrwn4Pz+LQjpJZh6Z086bYNEvDONOQaq36kJqZtSsnk4LRo6q0V57/o84Ro5h+hSNVy27C0ZSF2Y/VKMg4lQSlIIq532PyEczoUYHSXtSUVpig1VZhu2VtXpPast6eqLaqbcSxZa5vqo7gS2TObcKcqzJHXHvm5M9MPXTmbpFW0Lm6e9RqMAdGMd1LgK5Um92BYq6t0YFyYuhKpQ1socPGw5t4l0gdaUIdUamjTgvqTFeduV0Ut8KOaP5R12o0sfFCoNX//jNwVyrO7kw5UlyjQ+XE4JVq61mDZzzAaf8SwaNNwKMaeAN78FzTdXekXV4r8KjmX9exm03jpdDFlwBeqTjLU8VcXKNT5cTg5bU9vv8D55rNuSMVAAA="/>
          <p:cNvGrpSpPr>
            <a:grpSpLocks noChangeAspect="1"/>
          </p:cNvGrpSpPr>
          <p:nvPr/>
        </p:nvGrpSpPr>
        <p:grpSpPr>
          <a:xfrm>
            <a:off x="3093180" y="1711380"/>
            <a:ext cx="6005641" cy="3435240"/>
            <a:chOff x="3093180" y="1711380"/>
            <a:chExt cx="6005641" cy="3435240"/>
          </a:xfrm>
        </p:grpSpPr>
        <p:sp>
          <p:nvSpPr>
            <p:cNvPr id="3" name="RelativeShape1"/>
            <p:cNvSpPr/>
            <p:nvPr/>
          </p:nvSpPr>
          <p:spPr>
            <a:xfrm>
              <a:off x="4887371" y="3136575"/>
              <a:ext cx="3696863" cy="292425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  <a:effectLst>
              <a:innerShdw blurRad="63500" dist="12700" dir="16200000">
                <a:prstClr val="black">
                  <a:alpha val="19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Impact" panose="020B0806030902050204" pitchFamily="34" charset="0"/>
              </a:endParaRPr>
            </a:p>
          </p:txBody>
        </p:sp>
        <p:sp>
          <p:nvSpPr>
            <p:cNvPr id="4" name="ValueShape1"/>
            <p:cNvSpPr/>
            <p:nvPr/>
          </p:nvSpPr>
          <p:spPr>
            <a:xfrm>
              <a:off x="4887371" y="3136575"/>
              <a:ext cx="2559367" cy="292425"/>
            </a:xfrm>
            <a:prstGeom prst="roundRect">
              <a:avLst/>
            </a:prstGeom>
            <a:solidFill>
              <a:schemeClr val="accent2">
                <a:lumMod val="100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Impact" panose="020B0806030902050204" pitchFamily="34" charset="0"/>
              </a:endParaRPr>
            </a:p>
          </p:txBody>
        </p:sp>
        <p:sp>
          <p:nvSpPr>
            <p:cNvPr id="5" name="ValueText1"/>
            <p:cNvSpPr txBox="1"/>
            <p:nvPr/>
          </p:nvSpPr>
          <p:spPr>
            <a:xfrm>
              <a:off x="8669598" y="3152337"/>
              <a:ext cx="429223" cy="218588"/>
            </a:xfrm>
            <a:prstGeom prst="rect">
              <a:avLst/>
            </a:prstGeom>
            <a:noFill/>
          </p:spPr>
          <p:txBody>
            <a:bodyPr wrap="none" rtlCol="0" anchor="ctr" anchorCtr="1">
              <a:prstTxWarp prst="textPlain">
                <a:avLst/>
              </a:prstTxWarp>
              <a:normAutofit fontScale="40000" lnSpcReduction="20000"/>
            </a:bodyPr>
            <a:lstStyle/>
            <a:p>
              <a:r>
                <a:rPr lang="en-US" altLang="zh-CN" sz="2400">
                  <a:solidFill>
                    <a:schemeClr val="accent2">
                      <a:lumMod val="100000"/>
                    </a:schemeClr>
                  </a:solidFill>
                  <a:latin typeface="Impact" panose="020B0806030902050204" pitchFamily="34" charset="0"/>
                </a:rPr>
                <a:t>69%</a:t>
              </a:r>
              <a:endParaRPr lang="en-US" sz="2400" dirty="0">
                <a:solidFill>
                  <a:schemeClr val="accent2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6" name="RelativeShape2"/>
            <p:cNvSpPr/>
            <p:nvPr/>
          </p:nvSpPr>
          <p:spPr>
            <a:xfrm>
              <a:off x="4887371" y="3670260"/>
              <a:ext cx="3696863" cy="292425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  <a:effectLst>
              <a:innerShdw blurRad="63500" dist="12700" dir="16200000">
                <a:prstClr val="black">
                  <a:alpha val="19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Impact" panose="020B0806030902050204" pitchFamily="34" charset="0"/>
              </a:endParaRPr>
            </a:p>
          </p:txBody>
        </p:sp>
        <p:sp>
          <p:nvSpPr>
            <p:cNvPr id="7" name="ValueShape2"/>
            <p:cNvSpPr/>
            <p:nvPr/>
          </p:nvSpPr>
          <p:spPr>
            <a:xfrm>
              <a:off x="4887371" y="3670260"/>
              <a:ext cx="2701554" cy="292425"/>
            </a:xfrm>
            <a:prstGeom prst="roundRect">
              <a:avLst/>
            </a:prstGeom>
            <a:solidFill>
              <a:schemeClr val="accent6">
                <a:lumMod val="100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Impact" panose="020B0806030902050204" pitchFamily="34" charset="0"/>
              </a:endParaRPr>
            </a:p>
          </p:txBody>
        </p:sp>
        <p:sp>
          <p:nvSpPr>
            <p:cNvPr id="8" name="ValueText2"/>
            <p:cNvSpPr txBox="1"/>
            <p:nvPr/>
          </p:nvSpPr>
          <p:spPr>
            <a:xfrm>
              <a:off x="8669598" y="3686022"/>
              <a:ext cx="429223" cy="218588"/>
            </a:xfrm>
            <a:prstGeom prst="rect">
              <a:avLst/>
            </a:prstGeom>
            <a:noFill/>
          </p:spPr>
          <p:txBody>
            <a:bodyPr wrap="none" rtlCol="0" anchor="ctr" anchorCtr="1">
              <a:prstTxWarp prst="textPlain">
                <a:avLst/>
              </a:prstTxWarp>
              <a:normAutofit fontScale="40000" lnSpcReduction="20000"/>
            </a:bodyPr>
            <a:lstStyle/>
            <a:p>
              <a:r>
                <a:rPr lang="en-US" altLang="zh-CN" sz="2400">
                  <a:solidFill>
                    <a:schemeClr val="accent6">
                      <a:lumMod val="100000"/>
                    </a:schemeClr>
                  </a:solidFill>
                  <a:latin typeface="Impact" panose="020B0806030902050204" pitchFamily="34" charset="0"/>
                </a:rPr>
                <a:t>73%</a:t>
              </a:r>
              <a:endParaRPr lang="en-US" sz="2400" dirty="0">
                <a:solidFill>
                  <a:schemeClr val="accent6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9" name="RelativeShape3"/>
            <p:cNvSpPr/>
            <p:nvPr/>
          </p:nvSpPr>
          <p:spPr>
            <a:xfrm>
              <a:off x="4887371" y="4203945"/>
              <a:ext cx="3696863" cy="292425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  <a:effectLst>
              <a:innerShdw blurRad="63500" dist="12700" dir="16200000">
                <a:prstClr val="black">
                  <a:alpha val="19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Impact" panose="020B0806030902050204" pitchFamily="34" charset="0"/>
              </a:endParaRPr>
            </a:p>
          </p:txBody>
        </p:sp>
        <p:sp>
          <p:nvSpPr>
            <p:cNvPr id="10" name="ValueShape3"/>
            <p:cNvSpPr/>
            <p:nvPr/>
          </p:nvSpPr>
          <p:spPr>
            <a:xfrm>
              <a:off x="4887371" y="4203945"/>
              <a:ext cx="2914834" cy="292425"/>
            </a:xfrm>
            <a:prstGeom prst="roundRect">
              <a:avLst/>
            </a:prstGeom>
            <a:solidFill>
              <a:schemeClr val="accent3">
                <a:lumMod val="100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Impact" panose="020B0806030902050204" pitchFamily="34" charset="0"/>
              </a:endParaRPr>
            </a:p>
          </p:txBody>
        </p:sp>
        <p:sp>
          <p:nvSpPr>
            <p:cNvPr id="11" name="ValueText3"/>
            <p:cNvSpPr txBox="1"/>
            <p:nvPr/>
          </p:nvSpPr>
          <p:spPr>
            <a:xfrm>
              <a:off x="8669598" y="4219707"/>
              <a:ext cx="429223" cy="218588"/>
            </a:xfrm>
            <a:prstGeom prst="rect">
              <a:avLst/>
            </a:prstGeom>
            <a:noFill/>
          </p:spPr>
          <p:txBody>
            <a:bodyPr wrap="none" rtlCol="0" anchor="ctr" anchorCtr="1">
              <a:prstTxWarp prst="textPlain">
                <a:avLst/>
              </a:prstTxWarp>
              <a:normAutofit fontScale="40000" lnSpcReduction="20000"/>
            </a:bodyPr>
            <a:lstStyle/>
            <a:p>
              <a:r>
                <a:rPr lang="en-US" altLang="zh-CN" sz="2400">
                  <a:solidFill>
                    <a:schemeClr val="accent3">
                      <a:lumMod val="100000"/>
                    </a:schemeClr>
                  </a:solidFill>
                  <a:latin typeface="Impact" panose="020B0806030902050204" pitchFamily="34" charset="0"/>
                </a:rPr>
                <a:t>79%</a:t>
              </a:r>
              <a:endParaRPr lang="en-US" sz="2400" dirty="0">
                <a:solidFill>
                  <a:schemeClr val="accent3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2" name="RelativeShape4"/>
            <p:cNvSpPr/>
            <p:nvPr/>
          </p:nvSpPr>
          <p:spPr>
            <a:xfrm>
              <a:off x="4887371" y="4737630"/>
              <a:ext cx="3696863" cy="292425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  <a:effectLst>
              <a:innerShdw blurRad="63500" dist="12700" dir="16200000">
                <a:prstClr val="black">
                  <a:alpha val="19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Impact" panose="020B0806030902050204" pitchFamily="34" charset="0"/>
              </a:endParaRPr>
            </a:p>
          </p:txBody>
        </p:sp>
        <p:sp>
          <p:nvSpPr>
            <p:cNvPr id="13" name="ValueShape4"/>
            <p:cNvSpPr/>
            <p:nvPr/>
          </p:nvSpPr>
          <p:spPr>
            <a:xfrm>
              <a:off x="4887371" y="4737630"/>
              <a:ext cx="3128115" cy="292425"/>
            </a:xfrm>
            <a:prstGeom prst="roundRect">
              <a:avLst/>
            </a:prstGeom>
            <a:solidFill>
              <a:schemeClr val="accent5">
                <a:lumMod val="100000"/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Impact" panose="020B0806030902050204" pitchFamily="34" charset="0"/>
              </a:endParaRPr>
            </a:p>
          </p:txBody>
        </p:sp>
        <p:sp>
          <p:nvSpPr>
            <p:cNvPr id="14" name="ValueText4"/>
            <p:cNvSpPr txBox="1"/>
            <p:nvPr/>
          </p:nvSpPr>
          <p:spPr>
            <a:xfrm>
              <a:off x="8669598" y="4753392"/>
              <a:ext cx="429223" cy="218588"/>
            </a:xfrm>
            <a:prstGeom prst="rect">
              <a:avLst/>
            </a:prstGeom>
            <a:noFill/>
          </p:spPr>
          <p:txBody>
            <a:bodyPr wrap="none" rtlCol="0" anchor="ctr" anchorCtr="1">
              <a:prstTxWarp prst="textPlain">
                <a:avLst/>
              </a:prstTxWarp>
              <a:normAutofit fontScale="40000" lnSpcReduction="20000"/>
            </a:bodyPr>
            <a:lstStyle/>
            <a:p>
              <a:r>
                <a:rPr lang="en-US" altLang="zh-CN" sz="2400">
                  <a:solidFill>
                    <a:schemeClr val="accent5">
                      <a:lumMod val="100000"/>
                    </a:schemeClr>
                  </a:solidFill>
                  <a:latin typeface="Impact" panose="020B0806030902050204" pitchFamily="34" charset="0"/>
                </a:rPr>
                <a:t>85%</a:t>
              </a:r>
              <a:endParaRPr lang="en-US" sz="2400" dirty="0">
                <a:solidFill>
                  <a:schemeClr val="accent5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5" name="ExtraShape1"/>
            <p:cNvSpPr/>
            <p:nvPr/>
          </p:nvSpPr>
          <p:spPr bwMode="auto">
            <a:xfrm>
              <a:off x="3093180" y="2043128"/>
              <a:ext cx="1415628" cy="3103492"/>
            </a:xfrm>
            <a:custGeom>
              <a:avLst/>
              <a:gdLst>
                <a:gd name="T0" fmla="*/ 49 w 537"/>
                <a:gd name="T1" fmla="*/ 888 h 1180"/>
                <a:gd name="T2" fmla="*/ 128 w 537"/>
                <a:gd name="T3" fmla="*/ 646 h 1180"/>
                <a:gd name="T4" fmla="*/ 116 w 537"/>
                <a:gd name="T5" fmla="*/ 444 h 1180"/>
                <a:gd name="T6" fmla="*/ 129 w 537"/>
                <a:gd name="T7" fmla="*/ 221 h 1180"/>
                <a:gd name="T8" fmla="*/ 243 w 537"/>
                <a:gd name="T9" fmla="*/ 46 h 1180"/>
                <a:gd name="T10" fmla="*/ 444 w 537"/>
                <a:gd name="T11" fmla="*/ 44 h 1180"/>
                <a:gd name="T12" fmla="*/ 524 w 537"/>
                <a:gd name="T13" fmla="*/ 231 h 1180"/>
                <a:gd name="T14" fmla="*/ 517 w 537"/>
                <a:gd name="T15" fmla="*/ 454 h 1180"/>
                <a:gd name="T16" fmla="*/ 430 w 537"/>
                <a:gd name="T17" fmla="*/ 646 h 1180"/>
                <a:gd name="T18" fmla="*/ 402 w 537"/>
                <a:gd name="T19" fmla="*/ 850 h 1180"/>
                <a:gd name="T20" fmla="*/ 449 w 537"/>
                <a:gd name="T21" fmla="*/ 968 h 1180"/>
                <a:gd name="T22" fmla="*/ 328 w 537"/>
                <a:gd name="T23" fmla="*/ 1127 h 1180"/>
                <a:gd name="T24" fmla="*/ 49 w 537"/>
                <a:gd name="T25" fmla="*/ 888 h 1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7" h="1180">
                  <a:moveTo>
                    <a:pt x="49" y="888"/>
                  </a:moveTo>
                  <a:cubicBezTo>
                    <a:pt x="71" y="806"/>
                    <a:pt x="116" y="730"/>
                    <a:pt x="128" y="646"/>
                  </a:cubicBezTo>
                  <a:cubicBezTo>
                    <a:pt x="137" y="579"/>
                    <a:pt x="123" y="512"/>
                    <a:pt x="116" y="444"/>
                  </a:cubicBezTo>
                  <a:cubicBezTo>
                    <a:pt x="109" y="370"/>
                    <a:pt x="110" y="294"/>
                    <a:pt x="129" y="221"/>
                  </a:cubicBezTo>
                  <a:cubicBezTo>
                    <a:pt x="147" y="152"/>
                    <a:pt x="184" y="85"/>
                    <a:pt x="243" y="46"/>
                  </a:cubicBezTo>
                  <a:cubicBezTo>
                    <a:pt x="303" y="6"/>
                    <a:pt x="387" y="0"/>
                    <a:pt x="444" y="44"/>
                  </a:cubicBezTo>
                  <a:cubicBezTo>
                    <a:pt x="499" y="86"/>
                    <a:pt x="515" y="162"/>
                    <a:pt x="524" y="231"/>
                  </a:cubicBezTo>
                  <a:cubicBezTo>
                    <a:pt x="533" y="305"/>
                    <a:pt x="537" y="382"/>
                    <a:pt x="517" y="454"/>
                  </a:cubicBezTo>
                  <a:cubicBezTo>
                    <a:pt x="498" y="522"/>
                    <a:pt x="459" y="582"/>
                    <a:pt x="430" y="646"/>
                  </a:cubicBezTo>
                  <a:cubicBezTo>
                    <a:pt x="400" y="710"/>
                    <a:pt x="380" y="783"/>
                    <a:pt x="402" y="850"/>
                  </a:cubicBezTo>
                  <a:cubicBezTo>
                    <a:pt x="416" y="890"/>
                    <a:pt x="444" y="926"/>
                    <a:pt x="449" y="968"/>
                  </a:cubicBezTo>
                  <a:cubicBezTo>
                    <a:pt x="459" y="1040"/>
                    <a:pt x="397" y="1106"/>
                    <a:pt x="328" y="1127"/>
                  </a:cubicBezTo>
                  <a:cubicBezTo>
                    <a:pt x="151" y="1180"/>
                    <a:pt x="0" y="1078"/>
                    <a:pt x="49" y="888"/>
                  </a:cubicBezTo>
                  <a:close/>
                </a:path>
              </a:pathLst>
            </a:custGeom>
            <a:solidFill>
              <a:srgbClr val="68AFFD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6" name="ExtraShape2"/>
            <p:cNvSpPr/>
            <p:nvPr/>
          </p:nvSpPr>
          <p:spPr bwMode="auto">
            <a:xfrm>
              <a:off x="3955472" y="2426792"/>
              <a:ext cx="479896" cy="497623"/>
            </a:xfrm>
            <a:custGeom>
              <a:avLst/>
              <a:gdLst>
                <a:gd name="T0" fmla="*/ 49 w 182"/>
                <a:gd name="T1" fmla="*/ 32 h 189"/>
                <a:gd name="T2" fmla="*/ 156 w 182"/>
                <a:gd name="T3" fmla="*/ 0 h 189"/>
                <a:gd name="T4" fmla="*/ 182 w 182"/>
                <a:gd name="T5" fmla="*/ 33 h 189"/>
                <a:gd name="T6" fmla="*/ 148 w 182"/>
                <a:gd name="T7" fmla="*/ 96 h 189"/>
                <a:gd name="T8" fmla="*/ 101 w 182"/>
                <a:gd name="T9" fmla="*/ 151 h 189"/>
                <a:gd name="T10" fmla="*/ 78 w 182"/>
                <a:gd name="T11" fmla="*/ 189 h 189"/>
                <a:gd name="T12" fmla="*/ 56 w 182"/>
                <a:gd name="T13" fmla="*/ 145 h 189"/>
                <a:gd name="T14" fmla="*/ 84 w 182"/>
                <a:gd name="T15" fmla="*/ 101 h 189"/>
                <a:gd name="T16" fmla="*/ 24 w 182"/>
                <a:gd name="T17" fmla="*/ 92 h 189"/>
                <a:gd name="T18" fmla="*/ 49 w 182"/>
                <a:gd name="T19" fmla="*/ 3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189">
                  <a:moveTo>
                    <a:pt x="49" y="32"/>
                  </a:moveTo>
                  <a:cubicBezTo>
                    <a:pt x="156" y="0"/>
                    <a:pt x="156" y="0"/>
                    <a:pt x="156" y="0"/>
                  </a:cubicBezTo>
                  <a:cubicBezTo>
                    <a:pt x="156" y="0"/>
                    <a:pt x="182" y="7"/>
                    <a:pt x="182" y="33"/>
                  </a:cubicBezTo>
                  <a:cubicBezTo>
                    <a:pt x="182" y="60"/>
                    <a:pt x="148" y="96"/>
                    <a:pt x="148" y="96"/>
                  </a:cubicBezTo>
                  <a:cubicBezTo>
                    <a:pt x="101" y="151"/>
                    <a:pt x="101" y="151"/>
                    <a:pt x="101" y="151"/>
                  </a:cubicBezTo>
                  <a:cubicBezTo>
                    <a:pt x="78" y="189"/>
                    <a:pt x="78" y="189"/>
                    <a:pt x="78" y="189"/>
                  </a:cubicBezTo>
                  <a:cubicBezTo>
                    <a:pt x="56" y="145"/>
                    <a:pt x="56" y="145"/>
                    <a:pt x="56" y="145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84" y="101"/>
                    <a:pt x="47" y="116"/>
                    <a:pt x="24" y="92"/>
                  </a:cubicBezTo>
                  <a:cubicBezTo>
                    <a:pt x="0" y="69"/>
                    <a:pt x="49" y="32"/>
                    <a:pt x="49" y="32"/>
                  </a:cubicBezTo>
                  <a:close/>
                </a:path>
              </a:pathLst>
            </a:custGeom>
            <a:solidFill>
              <a:srgbClr val="68AF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" name="ExtraShape3"/>
            <p:cNvSpPr/>
            <p:nvPr/>
          </p:nvSpPr>
          <p:spPr bwMode="auto">
            <a:xfrm>
              <a:off x="3978263" y="2426792"/>
              <a:ext cx="457104" cy="497623"/>
            </a:xfrm>
            <a:custGeom>
              <a:avLst/>
              <a:gdLst>
                <a:gd name="T0" fmla="*/ 173 w 173"/>
                <a:gd name="T1" fmla="*/ 33 h 189"/>
                <a:gd name="T2" fmla="*/ 139 w 173"/>
                <a:gd name="T3" fmla="*/ 96 h 189"/>
                <a:gd name="T4" fmla="*/ 92 w 173"/>
                <a:gd name="T5" fmla="*/ 151 h 189"/>
                <a:gd name="T6" fmla="*/ 69 w 173"/>
                <a:gd name="T7" fmla="*/ 189 h 189"/>
                <a:gd name="T8" fmla="*/ 47 w 173"/>
                <a:gd name="T9" fmla="*/ 144 h 189"/>
                <a:gd name="T10" fmla="*/ 75 w 173"/>
                <a:gd name="T11" fmla="*/ 101 h 189"/>
                <a:gd name="T12" fmla="*/ 15 w 173"/>
                <a:gd name="T13" fmla="*/ 92 h 189"/>
                <a:gd name="T14" fmla="*/ 25 w 173"/>
                <a:gd name="T15" fmla="*/ 45 h 189"/>
                <a:gd name="T16" fmla="*/ 36 w 173"/>
                <a:gd name="T17" fmla="*/ 46 h 189"/>
                <a:gd name="T18" fmla="*/ 53 w 173"/>
                <a:gd name="T19" fmla="*/ 42 h 189"/>
                <a:gd name="T20" fmla="*/ 57 w 173"/>
                <a:gd name="T21" fmla="*/ 36 h 189"/>
                <a:gd name="T22" fmla="*/ 66 w 173"/>
                <a:gd name="T23" fmla="*/ 24 h 189"/>
                <a:gd name="T24" fmla="*/ 147 w 173"/>
                <a:gd name="T25" fmla="*/ 0 h 189"/>
                <a:gd name="T26" fmla="*/ 173 w 173"/>
                <a:gd name="T27" fmla="*/ 33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3" h="189">
                  <a:moveTo>
                    <a:pt x="173" y="33"/>
                  </a:moveTo>
                  <a:cubicBezTo>
                    <a:pt x="173" y="60"/>
                    <a:pt x="139" y="96"/>
                    <a:pt x="139" y="96"/>
                  </a:cubicBezTo>
                  <a:cubicBezTo>
                    <a:pt x="92" y="151"/>
                    <a:pt x="92" y="151"/>
                    <a:pt x="92" y="151"/>
                  </a:cubicBezTo>
                  <a:cubicBezTo>
                    <a:pt x="69" y="189"/>
                    <a:pt x="69" y="189"/>
                    <a:pt x="69" y="189"/>
                  </a:cubicBezTo>
                  <a:cubicBezTo>
                    <a:pt x="47" y="144"/>
                    <a:pt x="47" y="144"/>
                    <a:pt x="47" y="144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75" y="101"/>
                    <a:pt x="38" y="116"/>
                    <a:pt x="15" y="92"/>
                  </a:cubicBezTo>
                  <a:cubicBezTo>
                    <a:pt x="0" y="78"/>
                    <a:pt x="13" y="58"/>
                    <a:pt x="25" y="45"/>
                  </a:cubicBezTo>
                  <a:cubicBezTo>
                    <a:pt x="29" y="46"/>
                    <a:pt x="33" y="46"/>
                    <a:pt x="36" y="46"/>
                  </a:cubicBezTo>
                  <a:cubicBezTo>
                    <a:pt x="42" y="46"/>
                    <a:pt x="48" y="45"/>
                    <a:pt x="53" y="42"/>
                  </a:cubicBezTo>
                  <a:cubicBezTo>
                    <a:pt x="55" y="40"/>
                    <a:pt x="56" y="38"/>
                    <a:pt x="57" y="36"/>
                  </a:cubicBezTo>
                  <a:cubicBezTo>
                    <a:pt x="60" y="33"/>
                    <a:pt x="63" y="29"/>
                    <a:pt x="66" y="24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47" y="0"/>
                    <a:pt x="173" y="7"/>
                    <a:pt x="173" y="33"/>
                  </a:cubicBezTo>
                  <a:close/>
                </a:path>
              </a:pathLst>
            </a:custGeom>
            <a:gradFill>
              <a:gsLst>
                <a:gs pos="9000">
                  <a:schemeClr val="tx1">
                    <a:alpha val="36000"/>
                  </a:schemeClr>
                </a:gs>
                <a:gs pos="100000">
                  <a:srgbClr val="68AFFD">
                    <a:alpha val="0"/>
                  </a:srgbClr>
                </a:gs>
              </a:gsLst>
              <a:lin ang="5400000" scaled="1"/>
            </a:gra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8" name="ExtraShape4"/>
            <p:cNvSpPr/>
            <p:nvPr/>
          </p:nvSpPr>
          <p:spPr bwMode="auto">
            <a:xfrm>
              <a:off x="4113749" y="2758540"/>
              <a:ext cx="115226" cy="139284"/>
            </a:xfrm>
            <a:custGeom>
              <a:avLst/>
              <a:gdLst>
                <a:gd name="T0" fmla="*/ 27 w 44"/>
                <a:gd name="T1" fmla="*/ 16 h 53"/>
                <a:gd name="T2" fmla="*/ 31 w 44"/>
                <a:gd name="T3" fmla="*/ 18 h 53"/>
                <a:gd name="T4" fmla="*/ 36 w 44"/>
                <a:gd name="T5" fmla="*/ 24 h 53"/>
                <a:gd name="T6" fmla="*/ 42 w 44"/>
                <a:gd name="T7" fmla="*/ 36 h 53"/>
                <a:gd name="T8" fmla="*/ 44 w 44"/>
                <a:gd name="T9" fmla="*/ 41 h 53"/>
                <a:gd name="T10" fmla="*/ 41 w 44"/>
                <a:gd name="T11" fmla="*/ 47 h 53"/>
                <a:gd name="T12" fmla="*/ 25 w 44"/>
                <a:gd name="T13" fmla="*/ 52 h 53"/>
                <a:gd name="T14" fmla="*/ 16 w 44"/>
                <a:gd name="T15" fmla="*/ 49 h 53"/>
                <a:gd name="T16" fmla="*/ 13 w 44"/>
                <a:gd name="T17" fmla="*/ 45 h 53"/>
                <a:gd name="T18" fmla="*/ 5 w 44"/>
                <a:gd name="T19" fmla="*/ 30 h 53"/>
                <a:gd name="T20" fmla="*/ 8 w 44"/>
                <a:gd name="T21" fmla="*/ 5 h 53"/>
                <a:gd name="T22" fmla="*/ 27 w 44"/>
                <a:gd name="T23" fmla="*/ 16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4" h="53">
                  <a:moveTo>
                    <a:pt x="27" y="16"/>
                  </a:moveTo>
                  <a:cubicBezTo>
                    <a:pt x="29" y="16"/>
                    <a:pt x="30" y="17"/>
                    <a:pt x="31" y="18"/>
                  </a:cubicBezTo>
                  <a:cubicBezTo>
                    <a:pt x="33" y="19"/>
                    <a:pt x="35" y="22"/>
                    <a:pt x="36" y="24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43" y="37"/>
                    <a:pt x="44" y="39"/>
                    <a:pt x="44" y="41"/>
                  </a:cubicBezTo>
                  <a:cubicBezTo>
                    <a:pt x="44" y="43"/>
                    <a:pt x="43" y="45"/>
                    <a:pt x="41" y="47"/>
                  </a:cubicBezTo>
                  <a:cubicBezTo>
                    <a:pt x="37" y="51"/>
                    <a:pt x="31" y="53"/>
                    <a:pt x="25" y="52"/>
                  </a:cubicBezTo>
                  <a:cubicBezTo>
                    <a:pt x="22" y="52"/>
                    <a:pt x="18" y="51"/>
                    <a:pt x="16" y="49"/>
                  </a:cubicBezTo>
                  <a:cubicBezTo>
                    <a:pt x="14" y="48"/>
                    <a:pt x="13" y="46"/>
                    <a:pt x="13" y="45"/>
                  </a:cubicBezTo>
                  <a:cubicBezTo>
                    <a:pt x="10" y="40"/>
                    <a:pt x="7" y="35"/>
                    <a:pt x="5" y="30"/>
                  </a:cubicBezTo>
                  <a:cubicBezTo>
                    <a:pt x="2" y="23"/>
                    <a:pt x="0" y="10"/>
                    <a:pt x="8" y="5"/>
                  </a:cubicBezTo>
                  <a:cubicBezTo>
                    <a:pt x="17" y="0"/>
                    <a:pt x="21" y="12"/>
                    <a:pt x="27" y="16"/>
                  </a:cubicBezTo>
                  <a:close/>
                </a:path>
              </a:pathLst>
            </a:custGeom>
            <a:gradFill>
              <a:gsLst>
                <a:gs pos="9000">
                  <a:schemeClr val="tx1">
                    <a:alpha val="29000"/>
                  </a:schemeClr>
                </a:gs>
                <a:gs pos="100000">
                  <a:srgbClr val="68AFFD">
                    <a:alpha val="0"/>
                  </a:srgbClr>
                </a:gs>
              </a:gsLst>
              <a:lin ang="5400000" scaled="1"/>
            </a:gra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9" name="ExtraShape5"/>
            <p:cNvSpPr/>
            <p:nvPr/>
          </p:nvSpPr>
          <p:spPr bwMode="auto">
            <a:xfrm>
              <a:off x="3495836" y="2509095"/>
              <a:ext cx="2167759" cy="2527364"/>
            </a:xfrm>
            <a:custGeom>
              <a:avLst/>
              <a:gdLst>
                <a:gd name="T0" fmla="*/ 590 w 822"/>
                <a:gd name="T1" fmla="*/ 961 h 961"/>
                <a:gd name="T2" fmla="*/ 0 w 822"/>
                <a:gd name="T3" fmla="*/ 961 h 961"/>
                <a:gd name="T4" fmla="*/ 224 w 822"/>
                <a:gd name="T5" fmla="*/ 208 h 961"/>
                <a:gd name="T6" fmla="*/ 498 w 822"/>
                <a:gd name="T7" fmla="*/ 0 h 961"/>
                <a:gd name="T8" fmla="*/ 498 w 822"/>
                <a:gd name="T9" fmla="*/ 0 h 961"/>
                <a:gd name="T10" fmla="*/ 771 w 822"/>
                <a:gd name="T11" fmla="*/ 361 h 961"/>
                <a:gd name="T12" fmla="*/ 590 w 822"/>
                <a:gd name="T13" fmla="*/ 961 h 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2" h="961">
                  <a:moveTo>
                    <a:pt x="590" y="961"/>
                  </a:moveTo>
                  <a:cubicBezTo>
                    <a:pt x="0" y="961"/>
                    <a:pt x="0" y="961"/>
                    <a:pt x="0" y="961"/>
                  </a:cubicBezTo>
                  <a:cubicBezTo>
                    <a:pt x="224" y="208"/>
                    <a:pt x="224" y="208"/>
                    <a:pt x="224" y="208"/>
                  </a:cubicBezTo>
                  <a:cubicBezTo>
                    <a:pt x="259" y="85"/>
                    <a:pt x="371" y="0"/>
                    <a:pt x="498" y="0"/>
                  </a:cubicBezTo>
                  <a:cubicBezTo>
                    <a:pt x="498" y="0"/>
                    <a:pt x="498" y="0"/>
                    <a:pt x="498" y="0"/>
                  </a:cubicBezTo>
                  <a:cubicBezTo>
                    <a:pt x="686" y="0"/>
                    <a:pt x="822" y="180"/>
                    <a:pt x="771" y="361"/>
                  </a:cubicBezTo>
                  <a:lnTo>
                    <a:pt x="590" y="961"/>
                  </a:lnTo>
                  <a:close/>
                </a:path>
              </a:pathLst>
            </a:custGeom>
            <a:solidFill>
              <a:srgbClr val="68AF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0" name="ExtraShape6"/>
            <p:cNvSpPr/>
            <p:nvPr/>
          </p:nvSpPr>
          <p:spPr bwMode="auto">
            <a:xfrm>
              <a:off x="3738949" y="2519225"/>
              <a:ext cx="433045" cy="915473"/>
            </a:xfrm>
            <a:custGeom>
              <a:avLst/>
              <a:gdLst>
                <a:gd name="T0" fmla="*/ 105 w 164"/>
                <a:gd name="T1" fmla="*/ 185 h 348"/>
                <a:gd name="T2" fmla="*/ 95 w 164"/>
                <a:gd name="T3" fmla="*/ 223 h 348"/>
                <a:gd name="T4" fmla="*/ 71 w 164"/>
                <a:gd name="T5" fmla="*/ 282 h 348"/>
                <a:gd name="T6" fmla="*/ 67 w 164"/>
                <a:gd name="T7" fmla="*/ 304 h 348"/>
                <a:gd name="T8" fmla="*/ 86 w 164"/>
                <a:gd name="T9" fmla="*/ 329 h 348"/>
                <a:gd name="T10" fmla="*/ 118 w 164"/>
                <a:gd name="T11" fmla="*/ 347 h 348"/>
                <a:gd name="T12" fmla="*/ 146 w 164"/>
                <a:gd name="T13" fmla="*/ 330 h 348"/>
                <a:gd name="T14" fmla="*/ 131 w 164"/>
                <a:gd name="T15" fmla="*/ 292 h 348"/>
                <a:gd name="T16" fmla="*/ 134 w 164"/>
                <a:gd name="T17" fmla="*/ 261 h 348"/>
                <a:gd name="T18" fmla="*/ 163 w 164"/>
                <a:gd name="T19" fmla="*/ 156 h 348"/>
                <a:gd name="T20" fmla="*/ 138 w 164"/>
                <a:gd name="T21" fmla="*/ 46 h 348"/>
                <a:gd name="T22" fmla="*/ 103 w 164"/>
                <a:gd name="T23" fmla="*/ 8 h 348"/>
                <a:gd name="T24" fmla="*/ 53 w 164"/>
                <a:gd name="T25" fmla="*/ 11 h 348"/>
                <a:gd name="T26" fmla="*/ 105 w 164"/>
                <a:gd name="T27" fmla="*/ 185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4" h="348">
                  <a:moveTo>
                    <a:pt x="105" y="185"/>
                  </a:moveTo>
                  <a:cubicBezTo>
                    <a:pt x="105" y="198"/>
                    <a:pt x="100" y="211"/>
                    <a:pt x="95" y="223"/>
                  </a:cubicBezTo>
                  <a:cubicBezTo>
                    <a:pt x="71" y="282"/>
                    <a:pt x="71" y="282"/>
                    <a:pt x="71" y="282"/>
                  </a:cubicBezTo>
                  <a:cubicBezTo>
                    <a:pt x="68" y="289"/>
                    <a:pt x="66" y="296"/>
                    <a:pt x="67" y="304"/>
                  </a:cubicBezTo>
                  <a:cubicBezTo>
                    <a:pt x="68" y="314"/>
                    <a:pt x="77" y="322"/>
                    <a:pt x="86" y="329"/>
                  </a:cubicBezTo>
                  <a:cubicBezTo>
                    <a:pt x="95" y="337"/>
                    <a:pt x="105" y="345"/>
                    <a:pt x="118" y="347"/>
                  </a:cubicBezTo>
                  <a:cubicBezTo>
                    <a:pt x="130" y="348"/>
                    <a:pt x="144" y="342"/>
                    <a:pt x="146" y="330"/>
                  </a:cubicBezTo>
                  <a:cubicBezTo>
                    <a:pt x="148" y="316"/>
                    <a:pt x="135" y="305"/>
                    <a:pt x="131" y="292"/>
                  </a:cubicBezTo>
                  <a:cubicBezTo>
                    <a:pt x="128" y="282"/>
                    <a:pt x="131" y="271"/>
                    <a:pt x="134" y="261"/>
                  </a:cubicBezTo>
                  <a:cubicBezTo>
                    <a:pt x="145" y="226"/>
                    <a:pt x="163" y="192"/>
                    <a:pt x="163" y="156"/>
                  </a:cubicBezTo>
                  <a:cubicBezTo>
                    <a:pt x="164" y="117"/>
                    <a:pt x="147" y="82"/>
                    <a:pt x="138" y="46"/>
                  </a:cubicBezTo>
                  <a:cubicBezTo>
                    <a:pt x="131" y="19"/>
                    <a:pt x="133" y="13"/>
                    <a:pt x="103" y="8"/>
                  </a:cubicBezTo>
                  <a:cubicBezTo>
                    <a:pt x="88" y="5"/>
                    <a:pt x="66" y="0"/>
                    <a:pt x="53" y="11"/>
                  </a:cubicBezTo>
                  <a:cubicBezTo>
                    <a:pt x="0" y="52"/>
                    <a:pt x="105" y="141"/>
                    <a:pt x="105" y="185"/>
                  </a:cubicBezTo>
                  <a:close/>
                </a:path>
              </a:pathLst>
            </a:custGeom>
            <a:solidFill>
              <a:srgbClr val="68AF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" name="ExtraShape7"/>
            <p:cNvSpPr/>
            <p:nvPr/>
          </p:nvSpPr>
          <p:spPr bwMode="auto">
            <a:xfrm>
              <a:off x="3738949" y="2521757"/>
              <a:ext cx="433045" cy="915473"/>
            </a:xfrm>
            <a:custGeom>
              <a:avLst/>
              <a:gdLst>
                <a:gd name="T0" fmla="*/ 105 w 164"/>
                <a:gd name="T1" fmla="*/ 184 h 348"/>
                <a:gd name="T2" fmla="*/ 95 w 164"/>
                <a:gd name="T3" fmla="*/ 223 h 348"/>
                <a:gd name="T4" fmla="*/ 71 w 164"/>
                <a:gd name="T5" fmla="*/ 282 h 348"/>
                <a:gd name="T6" fmla="*/ 66 w 164"/>
                <a:gd name="T7" fmla="*/ 303 h 348"/>
                <a:gd name="T8" fmla="*/ 85 w 164"/>
                <a:gd name="T9" fmla="*/ 329 h 348"/>
                <a:gd name="T10" fmla="*/ 117 w 164"/>
                <a:gd name="T11" fmla="*/ 346 h 348"/>
                <a:gd name="T12" fmla="*/ 116 w 164"/>
                <a:gd name="T13" fmla="*/ 297 h 348"/>
                <a:gd name="T14" fmla="*/ 163 w 164"/>
                <a:gd name="T15" fmla="*/ 155 h 348"/>
                <a:gd name="T16" fmla="*/ 138 w 164"/>
                <a:gd name="T17" fmla="*/ 45 h 348"/>
                <a:gd name="T18" fmla="*/ 103 w 164"/>
                <a:gd name="T19" fmla="*/ 7 h 348"/>
                <a:gd name="T20" fmla="*/ 52 w 164"/>
                <a:gd name="T21" fmla="*/ 10 h 348"/>
                <a:gd name="T22" fmla="*/ 105 w 164"/>
                <a:gd name="T23" fmla="*/ 184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4" h="348">
                  <a:moveTo>
                    <a:pt x="105" y="184"/>
                  </a:moveTo>
                  <a:cubicBezTo>
                    <a:pt x="105" y="198"/>
                    <a:pt x="100" y="210"/>
                    <a:pt x="95" y="223"/>
                  </a:cubicBezTo>
                  <a:cubicBezTo>
                    <a:pt x="71" y="282"/>
                    <a:pt x="71" y="282"/>
                    <a:pt x="71" y="282"/>
                  </a:cubicBezTo>
                  <a:cubicBezTo>
                    <a:pt x="68" y="288"/>
                    <a:pt x="66" y="296"/>
                    <a:pt x="66" y="303"/>
                  </a:cubicBezTo>
                  <a:cubicBezTo>
                    <a:pt x="68" y="314"/>
                    <a:pt x="77" y="322"/>
                    <a:pt x="85" y="329"/>
                  </a:cubicBezTo>
                  <a:cubicBezTo>
                    <a:pt x="95" y="336"/>
                    <a:pt x="105" y="344"/>
                    <a:pt x="117" y="346"/>
                  </a:cubicBezTo>
                  <a:cubicBezTo>
                    <a:pt x="129" y="348"/>
                    <a:pt x="120" y="310"/>
                    <a:pt x="116" y="297"/>
                  </a:cubicBezTo>
                  <a:cubicBezTo>
                    <a:pt x="113" y="287"/>
                    <a:pt x="162" y="192"/>
                    <a:pt x="163" y="155"/>
                  </a:cubicBezTo>
                  <a:cubicBezTo>
                    <a:pt x="164" y="117"/>
                    <a:pt x="147" y="82"/>
                    <a:pt x="138" y="45"/>
                  </a:cubicBezTo>
                  <a:cubicBezTo>
                    <a:pt x="131" y="18"/>
                    <a:pt x="132" y="12"/>
                    <a:pt x="103" y="7"/>
                  </a:cubicBezTo>
                  <a:cubicBezTo>
                    <a:pt x="88" y="4"/>
                    <a:pt x="66" y="0"/>
                    <a:pt x="52" y="10"/>
                  </a:cubicBezTo>
                  <a:cubicBezTo>
                    <a:pt x="0" y="51"/>
                    <a:pt x="105" y="141"/>
                    <a:pt x="105" y="184"/>
                  </a:cubicBezTo>
                  <a:close/>
                </a:path>
              </a:pathLst>
            </a:custGeom>
            <a:gradFill>
              <a:gsLst>
                <a:gs pos="0">
                  <a:schemeClr val="tx1">
                    <a:alpha val="23000"/>
                  </a:schemeClr>
                </a:gs>
                <a:gs pos="100000">
                  <a:srgbClr val="68AFFD"/>
                </a:gs>
              </a:gsLst>
              <a:lin ang="5400000" scaled="1"/>
            </a:gra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2" name="ExtraShape8"/>
            <p:cNvSpPr/>
            <p:nvPr/>
          </p:nvSpPr>
          <p:spPr bwMode="auto">
            <a:xfrm>
              <a:off x="4582248" y="2497700"/>
              <a:ext cx="155745" cy="131686"/>
            </a:xfrm>
            <a:custGeom>
              <a:avLst/>
              <a:gdLst>
                <a:gd name="T0" fmla="*/ 41 w 59"/>
                <a:gd name="T1" fmla="*/ 6 h 50"/>
                <a:gd name="T2" fmla="*/ 47 w 59"/>
                <a:gd name="T3" fmla="*/ 7 h 50"/>
                <a:gd name="T4" fmla="*/ 50 w 59"/>
                <a:gd name="T5" fmla="*/ 12 h 50"/>
                <a:gd name="T6" fmla="*/ 48 w 59"/>
                <a:gd name="T7" fmla="*/ 17 h 50"/>
                <a:gd name="T8" fmla="*/ 50 w 59"/>
                <a:gd name="T9" fmla="*/ 25 h 50"/>
                <a:gd name="T10" fmla="*/ 57 w 59"/>
                <a:gd name="T11" fmla="*/ 37 h 50"/>
                <a:gd name="T12" fmla="*/ 58 w 59"/>
                <a:gd name="T13" fmla="*/ 43 h 50"/>
                <a:gd name="T14" fmla="*/ 56 w 59"/>
                <a:gd name="T15" fmla="*/ 46 h 50"/>
                <a:gd name="T16" fmla="*/ 40 w 59"/>
                <a:gd name="T17" fmla="*/ 49 h 50"/>
                <a:gd name="T18" fmla="*/ 0 w 59"/>
                <a:gd name="T19" fmla="*/ 15 h 50"/>
                <a:gd name="T20" fmla="*/ 0 w 59"/>
                <a:gd name="T21" fmla="*/ 12 h 50"/>
                <a:gd name="T22" fmla="*/ 2 w 59"/>
                <a:gd name="T23" fmla="*/ 10 h 50"/>
                <a:gd name="T24" fmla="*/ 21 w 59"/>
                <a:gd name="T25" fmla="*/ 0 h 50"/>
                <a:gd name="T26" fmla="*/ 41 w 59"/>
                <a:gd name="T27" fmla="*/ 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9" h="50">
                  <a:moveTo>
                    <a:pt x="41" y="6"/>
                  </a:moveTo>
                  <a:cubicBezTo>
                    <a:pt x="43" y="6"/>
                    <a:pt x="45" y="7"/>
                    <a:pt x="47" y="7"/>
                  </a:cubicBezTo>
                  <a:cubicBezTo>
                    <a:pt x="49" y="8"/>
                    <a:pt x="50" y="10"/>
                    <a:pt x="50" y="12"/>
                  </a:cubicBezTo>
                  <a:cubicBezTo>
                    <a:pt x="50" y="14"/>
                    <a:pt x="48" y="15"/>
                    <a:pt x="48" y="17"/>
                  </a:cubicBezTo>
                  <a:cubicBezTo>
                    <a:pt x="47" y="20"/>
                    <a:pt x="48" y="22"/>
                    <a:pt x="50" y="25"/>
                  </a:cubicBezTo>
                  <a:cubicBezTo>
                    <a:pt x="57" y="37"/>
                    <a:pt x="57" y="37"/>
                    <a:pt x="57" y="37"/>
                  </a:cubicBezTo>
                  <a:cubicBezTo>
                    <a:pt x="58" y="38"/>
                    <a:pt x="59" y="41"/>
                    <a:pt x="58" y="43"/>
                  </a:cubicBezTo>
                  <a:cubicBezTo>
                    <a:pt x="58" y="44"/>
                    <a:pt x="57" y="45"/>
                    <a:pt x="56" y="46"/>
                  </a:cubicBezTo>
                  <a:cubicBezTo>
                    <a:pt x="51" y="49"/>
                    <a:pt x="46" y="50"/>
                    <a:pt x="40" y="49"/>
                  </a:cubicBezTo>
                  <a:cubicBezTo>
                    <a:pt x="21" y="47"/>
                    <a:pt x="5" y="33"/>
                    <a:pt x="0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0" y="11"/>
                    <a:pt x="1" y="11"/>
                    <a:pt x="2" y="10"/>
                  </a:cubicBezTo>
                  <a:cubicBezTo>
                    <a:pt x="7" y="5"/>
                    <a:pt x="14" y="1"/>
                    <a:pt x="21" y="0"/>
                  </a:cubicBezTo>
                  <a:cubicBezTo>
                    <a:pt x="28" y="0"/>
                    <a:pt x="34" y="5"/>
                    <a:pt x="41" y="6"/>
                  </a:cubicBezTo>
                  <a:close/>
                </a:path>
              </a:pathLst>
            </a:custGeom>
            <a:solidFill>
              <a:srgbClr val="FFE7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3" name="ExtraShape9"/>
            <p:cNvSpPr/>
            <p:nvPr/>
          </p:nvSpPr>
          <p:spPr bwMode="auto">
            <a:xfrm>
              <a:off x="4838024" y="3244766"/>
              <a:ext cx="471440" cy="600186"/>
            </a:xfrm>
            <a:custGeom>
              <a:avLst/>
              <a:gdLst>
                <a:gd name="T0" fmla="*/ 53 w 239"/>
                <a:gd name="T1" fmla="*/ 302 h 305"/>
                <a:gd name="T2" fmla="*/ 0 w 239"/>
                <a:gd name="T3" fmla="*/ 304 h 305"/>
                <a:gd name="T4" fmla="*/ 7 w 239"/>
                <a:gd name="T5" fmla="*/ 262 h 305"/>
                <a:gd name="T6" fmla="*/ 58 w 239"/>
                <a:gd name="T7" fmla="*/ 182 h 305"/>
                <a:gd name="T8" fmla="*/ 122 w 239"/>
                <a:gd name="T9" fmla="*/ 135 h 305"/>
                <a:gd name="T10" fmla="*/ 160 w 239"/>
                <a:gd name="T11" fmla="*/ 89 h 305"/>
                <a:gd name="T12" fmla="*/ 122 w 239"/>
                <a:gd name="T13" fmla="*/ 60 h 305"/>
                <a:gd name="T14" fmla="*/ 85 w 239"/>
                <a:gd name="T15" fmla="*/ 78 h 305"/>
                <a:gd name="T16" fmla="*/ 76 w 239"/>
                <a:gd name="T17" fmla="*/ 108 h 305"/>
                <a:gd name="T18" fmla="*/ 1 w 239"/>
                <a:gd name="T19" fmla="*/ 100 h 305"/>
                <a:gd name="T20" fmla="*/ 27 w 239"/>
                <a:gd name="T21" fmla="*/ 37 h 305"/>
                <a:gd name="T22" fmla="*/ 121 w 239"/>
                <a:gd name="T23" fmla="*/ 0 h 305"/>
                <a:gd name="T24" fmla="*/ 224 w 239"/>
                <a:gd name="T25" fmla="*/ 45 h 305"/>
                <a:gd name="T26" fmla="*/ 235 w 239"/>
                <a:gd name="T27" fmla="*/ 86 h 305"/>
                <a:gd name="T28" fmla="*/ 203 w 239"/>
                <a:gd name="T29" fmla="*/ 152 h 305"/>
                <a:gd name="T30" fmla="*/ 151 w 239"/>
                <a:gd name="T31" fmla="*/ 190 h 305"/>
                <a:gd name="T32" fmla="*/ 99 w 239"/>
                <a:gd name="T33" fmla="*/ 240 h 305"/>
                <a:gd name="T34" fmla="*/ 182 w 239"/>
                <a:gd name="T35" fmla="*/ 240 h 305"/>
                <a:gd name="T36" fmla="*/ 239 w 239"/>
                <a:gd name="T37" fmla="*/ 237 h 305"/>
                <a:gd name="T38" fmla="*/ 239 w 239"/>
                <a:gd name="T39" fmla="*/ 305 h 305"/>
                <a:gd name="T40" fmla="*/ 178 w 239"/>
                <a:gd name="T41" fmla="*/ 302 h 305"/>
                <a:gd name="T42" fmla="*/ 53 w 239"/>
                <a:gd name="T43" fmla="*/ 302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9" h="305">
                  <a:moveTo>
                    <a:pt x="53" y="302"/>
                  </a:moveTo>
                  <a:cubicBezTo>
                    <a:pt x="21" y="302"/>
                    <a:pt x="13" y="303"/>
                    <a:pt x="0" y="304"/>
                  </a:cubicBezTo>
                  <a:cubicBezTo>
                    <a:pt x="1" y="289"/>
                    <a:pt x="3" y="275"/>
                    <a:pt x="7" y="262"/>
                  </a:cubicBezTo>
                  <a:cubicBezTo>
                    <a:pt x="17" y="231"/>
                    <a:pt x="35" y="204"/>
                    <a:pt x="58" y="182"/>
                  </a:cubicBezTo>
                  <a:cubicBezTo>
                    <a:pt x="72" y="170"/>
                    <a:pt x="85" y="159"/>
                    <a:pt x="122" y="135"/>
                  </a:cubicBezTo>
                  <a:cubicBezTo>
                    <a:pt x="152" y="114"/>
                    <a:pt x="160" y="105"/>
                    <a:pt x="160" y="89"/>
                  </a:cubicBezTo>
                  <a:cubicBezTo>
                    <a:pt x="160" y="72"/>
                    <a:pt x="144" y="60"/>
                    <a:pt x="122" y="60"/>
                  </a:cubicBezTo>
                  <a:cubicBezTo>
                    <a:pt x="105" y="60"/>
                    <a:pt x="92" y="66"/>
                    <a:pt x="85" y="78"/>
                  </a:cubicBezTo>
                  <a:cubicBezTo>
                    <a:pt x="80" y="86"/>
                    <a:pt x="78" y="93"/>
                    <a:pt x="76" y="108"/>
                  </a:cubicBezTo>
                  <a:cubicBezTo>
                    <a:pt x="1" y="100"/>
                    <a:pt x="1" y="100"/>
                    <a:pt x="1" y="100"/>
                  </a:cubicBezTo>
                  <a:cubicBezTo>
                    <a:pt x="6" y="69"/>
                    <a:pt x="13" y="53"/>
                    <a:pt x="27" y="37"/>
                  </a:cubicBezTo>
                  <a:cubicBezTo>
                    <a:pt x="47" y="13"/>
                    <a:pt x="80" y="0"/>
                    <a:pt x="121" y="0"/>
                  </a:cubicBezTo>
                  <a:cubicBezTo>
                    <a:pt x="169" y="0"/>
                    <a:pt x="206" y="16"/>
                    <a:pt x="224" y="45"/>
                  </a:cubicBezTo>
                  <a:cubicBezTo>
                    <a:pt x="232" y="57"/>
                    <a:pt x="236" y="72"/>
                    <a:pt x="235" y="86"/>
                  </a:cubicBezTo>
                  <a:cubicBezTo>
                    <a:pt x="235" y="112"/>
                    <a:pt x="225" y="134"/>
                    <a:pt x="203" y="152"/>
                  </a:cubicBezTo>
                  <a:cubicBezTo>
                    <a:pt x="191" y="163"/>
                    <a:pt x="187" y="165"/>
                    <a:pt x="151" y="190"/>
                  </a:cubicBezTo>
                  <a:cubicBezTo>
                    <a:pt x="120" y="212"/>
                    <a:pt x="107" y="224"/>
                    <a:pt x="99" y="240"/>
                  </a:cubicBezTo>
                  <a:cubicBezTo>
                    <a:pt x="182" y="240"/>
                    <a:pt x="182" y="240"/>
                    <a:pt x="182" y="240"/>
                  </a:cubicBezTo>
                  <a:cubicBezTo>
                    <a:pt x="201" y="240"/>
                    <a:pt x="220" y="239"/>
                    <a:pt x="239" y="237"/>
                  </a:cubicBezTo>
                  <a:cubicBezTo>
                    <a:pt x="239" y="305"/>
                    <a:pt x="239" y="305"/>
                    <a:pt x="239" y="305"/>
                  </a:cubicBezTo>
                  <a:cubicBezTo>
                    <a:pt x="218" y="303"/>
                    <a:pt x="203" y="302"/>
                    <a:pt x="178" y="302"/>
                  </a:cubicBezTo>
                  <a:lnTo>
                    <a:pt x="53" y="3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4" name="ExtraShape10"/>
            <p:cNvSpPr/>
            <p:nvPr/>
          </p:nvSpPr>
          <p:spPr bwMode="auto">
            <a:xfrm>
              <a:off x="4613903" y="2445784"/>
              <a:ext cx="169673" cy="91167"/>
            </a:xfrm>
            <a:custGeom>
              <a:avLst/>
              <a:gdLst>
                <a:gd name="T0" fmla="*/ 39 w 64"/>
                <a:gd name="T1" fmla="*/ 11 h 35"/>
                <a:gd name="T2" fmla="*/ 50 w 64"/>
                <a:gd name="T3" fmla="*/ 11 h 35"/>
                <a:gd name="T4" fmla="*/ 63 w 64"/>
                <a:gd name="T5" fmla="*/ 23 h 35"/>
                <a:gd name="T6" fmla="*/ 64 w 64"/>
                <a:gd name="T7" fmla="*/ 27 h 35"/>
                <a:gd name="T8" fmla="*/ 58 w 64"/>
                <a:gd name="T9" fmla="*/ 31 h 35"/>
                <a:gd name="T10" fmla="*/ 41 w 64"/>
                <a:gd name="T11" fmla="*/ 33 h 35"/>
                <a:gd name="T12" fmla="*/ 14 w 64"/>
                <a:gd name="T13" fmla="*/ 26 h 35"/>
                <a:gd name="T14" fmla="*/ 11 w 64"/>
                <a:gd name="T15" fmla="*/ 4 h 35"/>
                <a:gd name="T16" fmla="*/ 39 w 64"/>
                <a:gd name="T17" fmla="*/ 1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4" h="35">
                  <a:moveTo>
                    <a:pt x="39" y="11"/>
                  </a:moveTo>
                  <a:cubicBezTo>
                    <a:pt x="43" y="11"/>
                    <a:pt x="46" y="11"/>
                    <a:pt x="50" y="11"/>
                  </a:cubicBezTo>
                  <a:cubicBezTo>
                    <a:pt x="56" y="13"/>
                    <a:pt x="60" y="18"/>
                    <a:pt x="63" y="23"/>
                  </a:cubicBezTo>
                  <a:cubicBezTo>
                    <a:pt x="64" y="24"/>
                    <a:pt x="64" y="26"/>
                    <a:pt x="64" y="27"/>
                  </a:cubicBezTo>
                  <a:cubicBezTo>
                    <a:pt x="64" y="30"/>
                    <a:pt x="61" y="31"/>
                    <a:pt x="58" y="31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2" y="35"/>
                    <a:pt x="22" y="32"/>
                    <a:pt x="14" y="26"/>
                  </a:cubicBezTo>
                  <a:cubicBezTo>
                    <a:pt x="6" y="22"/>
                    <a:pt x="0" y="10"/>
                    <a:pt x="11" y="4"/>
                  </a:cubicBezTo>
                  <a:cubicBezTo>
                    <a:pt x="20" y="0"/>
                    <a:pt x="31" y="10"/>
                    <a:pt x="39" y="11"/>
                  </a:cubicBezTo>
                  <a:close/>
                </a:path>
              </a:pathLst>
            </a:custGeom>
            <a:solidFill>
              <a:srgbClr val="FFE7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" name="ExtraShape11"/>
            <p:cNvSpPr/>
            <p:nvPr/>
          </p:nvSpPr>
          <p:spPr bwMode="auto">
            <a:xfrm>
              <a:off x="3975731" y="3591709"/>
              <a:ext cx="196264" cy="248178"/>
            </a:xfrm>
            <a:custGeom>
              <a:avLst/>
              <a:gdLst>
                <a:gd name="T0" fmla="*/ 22 w 74"/>
                <a:gd name="T1" fmla="*/ 62 h 94"/>
                <a:gd name="T2" fmla="*/ 25 w 74"/>
                <a:gd name="T3" fmla="*/ 70 h 94"/>
                <a:gd name="T4" fmla="*/ 38 w 74"/>
                <a:gd name="T5" fmla="*/ 75 h 94"/>
                <a:gd name="T6" fmla="*/ 51 w 74"/>
                <a:gd name="T7" fmla="*/ 66 h 94"/>
                <a:gd name="T8" fmla="*/ 46 w 74"/>
                <a:gd name="T9" fmla="*/ 58 h 94"/>
                <a:gd name="T10" fmla="*/ 30 w 74"/>
                <a:gd name="T11" fmla="*/ 54 h 94"/>
                <a:gd name="T12" fmla="*/ 13 w 74"/>
                <a:gd name="T13" fmla="*/ 48 h 94"/>
                <a:gd name="T14" fmla="*/ 3 w 74"/>
                <a:gd name="T15" fmla="*/ 27 h 94"/>
                <a:gd name="T16" fmla="*/ 37 w 74"/>
                <a:gd name="T17" fmla="*/ 0 h 94"/>
                <a:gd name="T18" fmla="*/ 67 w 74"/>
                <a:gd name="T19" fmla="*/ 12 h 94"/>
                <a:gd name="T20" fmla="*/ 72 w 74"/>
                <a:gd name="T21" fmla="*/ 25 h 94"/>
                <a:gd name="T22" fmla="*/ 50 w 74"/>
                <a:gd name="T23" fmla="*/ 28 h 94"/>
                <a:gd name="T24" fmla="*/ 36 w 74"/>
                <a:gd name="T25" fmla="*/ 18 h 94"/>
                <a:gd name="T26" fmla="*/ 25 w 74"/>
                <a:gd name="T27" fmla="*/ 26 h 94"/>
                <a:gd name="T28" fmla="*/ 30 w 74"/>
                <a:gd name="T29" fmla="*/ 33 h 94"/>
                <a:gd name="T30" fmla="*/ 45 w 74"/>
                <a:gd name="T31" fmla="*/ 37 h 94"/>
                <a:gd name="T32" fmla="*/ 62 w 74"/>
                <a:gd name="T33" fmla="*/ 43 h 94"/>
                <a:gd name="T34" fmla="*/ 74 w 74"/>
                <a:gd name="T35" fmla="*/ 65 h 94"/>
                <a:gd name="T36" fmla="*/ 66 w 74"/>
                <a:gd name="T37" fmla="*/ 84 h 94"/>
                <a:gd name="T38" fmla="*/ 38 w 74"/>
                <a:gd name="T39" fmla="*/ 94 h 94"/>
                <a:gd name="T40" fmla="*/ 14 w 74"/>
                <a:gd name="T41" fmla="*/ 88 h 94"/>
                <a:gd name="T42" fmla="*/ 2 w 74"/>
                <a:gd name="T43" fmla="*/ 75 h 94"/>
                <a:gd name="T44" fmla="*/ 0 w 74"/>
                <a:gd name="T45" fmla="*/ 65 h 94"/>
                <a:gd name="T46" fmla="*/ 22 w 74"/>
                <a:gd name="T47" fmla="*/ 62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4" h="94">
                  <a:moveTo>
                    <a:pt x="22" y="62"/>
                  </a:moveTo>
                  <a:cubicBezTo>
                    <a:pt x="22" y="65"/>
                    <a:pt x="23" y="68"/>
                    <a:pt x="25" y="70"/>
                  </a:cubicBezTo>
                  <a:cubicBezTo>
                    <a:pt x="28" y="74"/>
                    <a:pt x="33" y="76"/>
                    <a:pt x="38" y="75"/>
                  </a:cubicBezTo>
                  <a:cubicBezTo>
                    <a:pt x="46" y="75"/>
                    <a:pt x="51" y="72"/>
                    <a:pt x="51" y="66"/>
                  </a:cubicBezTo>
                  <a:cubicBezTo>
                    <a:pt x="51" y="63"/>
                    <a:pt x="49" y="60"/>
                    <a:pt x="46" y="58"/>
                  </a:cubicBezTo>
                  <a:cubicBezTo>
                    <a:pt x="41" y="56"/>
                    <a:pt x="36" y="55"/>
                    <a:pt x="30" y="54"/>
                  </a:cubicBezTo>
                  <a:cubicBezTo>
                    <a:pt x="20" y="52"/>
                    <a:pt x="17" y="50"/>
                    <a:pt x="13" y="48"/>
                  </a:cubicBezTo>
                  <a:cubicBezTo>
                    <a:pt x="6" y="43"/>
                    <a:pt x="2" y="35"/>
                    <a:pt x="3" y="27"/>
                  </a:cubicBezTo>
                  <a:cubicBezTo>
                    <a:pt x="3" y="10"/>
                    <a:pt x="16" y="0"/>
                    <a:pt x="37" y="0"/>
                  </a:cubicBezTo>
                  <a:cubicBezTo>
                    <a:pt x="51" y="0"/>
                    <a:pt x="61" y="4"/>
                    <a:pt x="67" y="12"/>
                  </a:cubicBezTo>
                  <a:cubicBezTo>
                    <a:pt x="70" y="16"/>
                    <a:pt x="72" y="21"/>
                    <a:pt x="72" y="25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48" y="21"/>
                    <a:pt x="44" y="18"/>
                    <a:pt x="36" y="18"/>
                  </a:cubicBezTo>
                  <a:cubicBezTo>
                    <a:pt x="30" y="18"/>
                    <a:pt x="25" y="21"/>
                    <a:pt x="25" y="26"/>
                  </a:cubicBezTo>
                  <a:cubicBezTo>
                    <a:pt x="25" y="29"/>
                    <a:pt x="27" y="32"/>
                    <a:pt x="30" y="33"/>
                  </a:cubicBezTo>
                  <a:cubicBezTo>
                    <a:pt x="32" y="34"/>
                    <a:pt x="32" y="34"/>
                    <a:pt x="45" y="37"/>
                  </a:cubicBezTo>
                  <a:cubicBezTo>
                    <a:pt x="51" y="38"/>
                    <a:pt x="57" y="40"/>
                    <a:pt x="62" y="43"/>
                  </a:cubicBezTo>
                  <a:cubicBezTo>
                    <a:pt x="70" y="47"/>
                    <a:pt x="74" y="56"/>
                    <a:pt x="74" y="65"/>
                  </a:cubicBezTo>
                  <a:cubicBezTo>
                    <a:pt x="74" y="72"/>
                    <a:pt x="71" y="79"/>
                    <a:pt x="66" y="84"/>
                  </a:cubicBezTo>
                  <a:cubicBezTo>
                    <a:pt x="60" y="90"/>
                    <a:pt x="51" y="94"/>
                    <a:pt x="38" y="94"/>
                  </a:cubicBezTo>
                  <a:cubicBezTo>
                    <a:pt x="30" y="94"/>
                    <a:pt x="21" y="92"/>
                    <a:pt x="14" y="88"/>
                  </a:cubicBezTo>
                  <a:cubicBezTo>
                    <a:pt x="9" y="85"/>
                    <a:pt x="4" y="80"/>
                    <a:pt x="2" y="75"/>
                  </a:cubicBezTo>
                  <a:cubicBezTo>
                    <a:pt x="1" y="71"/>
                    <a:pt x="0" y="68"/>
                    <a:pt x="0" y="65"/>
                  </a:cubicBezTo>
                  <a:lnTo>
                    <a:pt x="22" y="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" name="ExtraShape12"/>
            <p:cNvSpPr/>
            <p:nvPr/>
          </p:nvSpPr>
          <p:spPr bwMode="auto">
            <a:xfrm>
              <a:off x="4187189" y="3594241"/>
              <a:ext cx="208926" cy="236782"/>
            </a:xfrm>
            <a:custGeom>
              <a:avLst/>
              <a:gdLst>
                <a:gd name="T0" fmla="*/ 51 w 79"/>
                <a:gd name="T1" fmla="*/ 74 h 90"/>
                <a:gd name="T2" fmla="*/ 51 w 79"/>
                <a:gd name="T3" fmla="*/ 90 h 90"/>
                <a:gd name="T4" fmla="*/ 28 w 79"/>
                <a:gd name="T5" fmla="*/ 90 h 90"/>
                <a:gd name="T6" fmla="*/ 29 w 79"/>
                <a:gd name="T7" fmla="*/ 74 h 90"/>
                <a:gd name="T8" fmla="*/ 29 w 79"/>
                <a:gd name="T9" fmla="*/ 20 h 90"/>
                <a:gd name="T10" fmla="*/ 16 w 79"/>
                <a:gd name="T11" fmla="*/ 20 h 90"/>
                <a:gd name="T12" fmla="*/ 0 w 79"/>
                <a:gd name="T13" fmla="*/ 21 h 90"/>
                <a:gd name="T14" fmla="*/ 0 w 79"/>
                <a:gd name="T15" fmla="*/ 0 h 90"/>
                <a:gd name="T16" fmla="*/ 16 w 79"/>
                <a:gd name="T17" fmla="*/ 1 h 90"/>
                <a:gd name="T18" fmla="*/ 63 w 79"/>
                <a:gd name="T19" fmla="*/ 1 h 90"/>
                <a:gd name="T20" fmla="*/ 79 w 79"/>
                <a:gd name="T21" fmla="*/ 0 h 90"/>
                <a:gd name="T22" fmla="*/ 79 w 79"/>
                <a:gd name="T23" fmla="*/ 21 h 90"/>
                <a:gd name="T24" fmla="*/ 63 w 79"/>
                <a:gd name="T25" fmla="*/ 20 h 90"/>
                <a:gd name="T26" fmla="*/ 51 w 79"/>
                <a:gd name="T27" fmla="*/ 20 h 90"/>
                <a:gd name="T28" fmla="*/ 51 w 79"/>
                <a:gd name="T29" fmla="*/ 7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90">
                  <a:moveTo>
                    <a:pt x="51" y="74"/>
                  </a:moveTo>
                  <a:cubicBezTo>
                    <a:pt x="50" y="80"/>
                    <a:pt x="51" y="85"/>
                    <a:pt x="51" y="90"/>
                  </a:cubicBezTo>
                  <a:cubicBezTo>
                    <a:pt x="28" y="90"/>
                    <a:pt x="28" y="90"/>
                    <a:pt x="28" y="90"/>
                  </a:cubicBezTo>
                  <a:cubicBezTo>
                    <a:pt x="28" y="85"/>
                    <a:pt x="29" y="80"/>
                    <a:pt x="29" y="74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0" y="20"/>
                    <a:pt x="5" y="20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1"/>
                    <a:pt x="10" y="1"/>
                    <a:pt x="16" y="1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8" y="1"/>
                    <a:pt x="74" y="1"/>
                    <a:pt x="79" y="0"/>
                  </a:cubicBezTo>
                  <a:cubicBezTo>
                    <a:pt x="79" y="21"/>
                    <a:pt x="79" y="21"/>
                    <a:pt x="79" y="21"/>
                  </a:cubicBezTo>
                  <a:cubicBezTo>
                    <a:pt x="74" y="20"/>
                    <a:pt x="68" y="20"/>
                    <a:pt x="63" y="20"/>
                  </a:cubicBezTo>
                  <a:cubicBezTo>
                    <a:pt x="51" y="20"/>
                    <a:pt x="51" y="20"/>
                    <a:pt x="51" y="20"/>
                  </a:cubicBezTo>
                  <a:lnTo>
                    <a:pt x="51" y="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" name="ExtraShape13"/>
            <p:cNvSpPr/>
            <p:nvPr/>
          </p:nvSpPr>
          <p:spPr bwMode="auto">
            <a:xfrm>
              <a:off x="4418906" y="3594241"/>
              <a:ext cx="177270" cy="239315"/>
            </a:xfrm>
            <a:custGeom>
              <a:avLst/>
              <a:gdLst>
                <a:gd name="T0" fmla="*/ 67 w 67"/>
                <a:gd name="T1" fmla="*/ 91 h 91"/>
                <a:gd name="T2" fmla="*/ 49 w 67"/>
                <a:gd name="T3" fmla="*/ 90 h 91"/>
                <a:gd name="T4" fmla="*/ 15 w 67"/>
                <a:gd name="T5" fmla="*/ 90 h 91"/>
                <a:gd name="T6" fmla="*/ 0 w 67"/>
                <a:gd name="T7" fmla="*/ 91 h 91"/>
                <a:gd name="T8" fmla="*/ 1 w 67"/>
                <a:gd name="T9" fmla="*/ 75 h 91"/>
                <a:gd name="T10" fmla="*/ 1 w 67"/>
                <a:gd name="T11" fmla="*/ 17 h 91"/>
                <a:gd name="T12" fmla="*/ 0 w 67"/>
                <a:gd name="T13" fmla="*/ 1 h 91"/>
                <a:gd name="T14" fmla="*/ 15 w 67"/>
                <a:gd name="T15" fmla="*/ 1 h 91"/>
                <a:gd name="T16" fmla="*/ 50 w 67"/>
                <a:gd name="T17" fmla="*/ 1 h 91"/>
                <a:gd name="T18" fmla="*/ 66 w 67"/>
                <a:gd name="T19" fmla="*/ 0 h 91"/>
                <a:gd name="T20" fmla="*/ 66 w 67"/>
                <a:gd name="T21" fmla="*/ 20 h 91"/>
                <a:gd name="T22" fmla="*/ 50 w 67"/>
                <a:gd name="T23" fmla="*/ 20 h 91"/>
                <a:gd name="T24" fmla="*/ 22 w 67"/>
                <a:gd name="T25" fmla="*/ 20 h 91"/>
                <a:gd name="T26" fmla="*/ 22 w 67"/>
                <a:gd name="T27" fmla="*/ 36 h 91"/>
                <a:gd name="T28" fmla="*/ 45 w 67"/>
                <a:gd name="T29" fmla="*/ 36 h 91"/>
                <a:gd name="T30" fmla="*/ 61 w 67"/>
                <a:gd name="T31" fmla="*/ 35 h 91"/>
                <a:gd name="T32" fmla="*/ 61 w 67"/>
                <a:gd name="T33" fmla="*/ 55 h 91"/>
                <a:gd name="T34" fmla="*/ 45 w 67"/>
                <a:gd name="T35" fmla="*/ 54 h 91"/>
                <a:gd name="T36" fmla="*/ 22 w 67"/>
                <a:gd name="T37" fmla="*/ 54 h 91"/>
                <a:gd name="T38" fmla="*/ 22 w 67"/>
                <a:gd name="T39" fmla="*/ 72 h 91"/>
                <a:gd name="T40" fmla="*/ 49 w 67"/>
                <a:gd name="T41" fmla="*/ 72 h 91"/>
                <a:gd name="T42" fmla="*/ 67 w 67"/>
                <a:gd name="T43" fmla="*/ 71 h 91"/>
                <a:gd name="T44" fmla="*/ 67 w 67"/>
                <a:gd name="T45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7" h="91">
                  <a:moveTo>
                    <a:pt x="67" y="91"/>
                  </a:moveTo>
                  <a:cubicBezTo>
                    <a:pt x="61" y="91"/>
                    <a:pt x="55" y="90"/>
                    <a:pt x="49" y="90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7" y="90"/>
                    <a:pt x="4" y="90"/>
                    <a:pt x="0" y="91"/>
                  </a:cubicBezTo>
                  <a:cubicBezTo>
                    <a:pt x="0" y="86"/>
                    <a:pt x="1" y="80"/>
                    <a:pt x="1" y="75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1" y="11"/>
                    <a:pt x="0" y="6"/>
                    <a:pt x="0" y="1"/>
                  </a:cubicBezTo>
                  <a:cubicBezTo>
                    <a:pt x="4" y="1"/>
                    <a:pt x="7" y="1"/>
                    <a:pt x="15" y="1"/>
                  </a:cubicBezTo>
                  <a:cubicBezTo>
                    <a:pt x="50" y="1"/>
                    <a:pt x="50" y="1"/>
                    <a:pt x="50" y="1"/>
                  </a:cubicBezTo>
                  <a:cubicBezTo>
                    <a:pt x="55" y="1"/>
                    <a:pt x="60" y="1"/>
                    <a:pt x="66" y="0"/>
                  </a:cubicBezTo>
                  <a:cubicBezTo>
                    <a:pt x="66" y="20"/>
                    <a:pt x="66" y="20"/>
                    <a:pt x="66" y="20"/>
                  </a:cubicBezTo>
                  <a:cubicBezTo>
                    <a:pt x="60" y="20"/>
                    <a:pt x="55" y="20"/>
                    <a:pt x="50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36"/>
                    <a:pt x="22" y="36"/>
                    <a:pt x="22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50" y="36"/>
                    <a:pt x="56" y="35"/>
                    <a:pt x="61" y="35"/>
                  </a:cubicBezTo>
                  <a:cubicBezTo>
                    <a:pt x="61" y="55"/>
                    <a:pt x="61" y="55"/>
                    <a:pt x="61" y="55"/>
                  </a:cubicBezTo>
                  <a:cubicBezTo>
                    <a:pt x="56" y="54"/>
                    <a:pt x="50" y="54"/>
                    <a:pt x="45" y="54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22" y="72"/>
                    <a:pt x="22" y="72"/>
                    <a:pt x="22" y="72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55" y="72"/>
                    <a:pt x="61" y="72"/>
                    <a:pt x="67" y="71"/>
                  </a:cubicBezTo>
                  <a:lnTo>
                    <a:pt x="67" y="9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" name="ExtraShape14"/>
            <p:cNvSpPr/>
            <p:nvPr/>
          </p:nvSpPr>
          <p:spPr bwMode="auto">
            <a:xfrm>
              <a:off x="4625299" y="3598039"/>
              <a:ext cx="189932" cy="232983"/>
            </a:xfrm>
            <a:custGeom>
              <a:avLst/>
              <a:gdLst>
                <a:gd name="T0" fmla="*/ 0 w 72"/>
                <a:gd name="T1" fmla="*/ 89 h 89"/>
                <a:gd name="T2" fmla="*/ 1 w 72"/>
                <a:gd name="T3" fmla="*/ 73 h 89"/>
                <a:gd name="T4" fmla="*/ 1 w 72"/>
                <a:gd name="T5" fmla="*/ 16 h 89"/>
                <a:gd name="T6" fmla="*/ 0 w 72"/>
                <a:gd name="T7" fmla="*/ 0 h 89"/>
                <a:gd name="T8" fmla="*/ 16 w 72"/>
                <a:gd name="T9" fmla="*/ 0 h 89"/>
                <a:gd name="T10" fmla="*/ 39 w 72"/>
                <a:gd name="T11" fmla="*/ 0 h 89"/>
                <a:gd name="T12" fmla="*/ 72 w 72"/>
                <a:gd name="T13" fmla="*/ 29 h 89"/>
                <a:gd name="T14" fmla="*/ 39 w 72"/>
                <a:gd name="T15" fmla="*/ 60 h 89"/>
                <a:gd name="T16" fmla="*/ 22 w 72"/>
                <a:gd name="T17" fmla="*/ 60 h 89"/>
                <a:gd name="T18" fmla="*/ 22 w 72"/>
                <a:gd name="T19" fmla="*/ 73 h 89"/>
                <a:gd name="T20" fmla="*/ 23 w 72"/>
                <a:gd name="T21" fmla="*/ 89 h 89"/>
                <a:gd name="T22" fmla="*/ 0 w 72"/>
                <a:gd name="T23" fmla="*/ 89 h 89"/>
                <a:gd name="T24" fmla="*/ 38 w 72"/>
                <a:gd name="T25" fmla="*/ 41 h 89"/>
                <a:gd name="T26" fmla="*/ 50 w 72"/>
                <a:gd name="T27" fmla="*/ 32 h 89"/>
                <a:gd name="T28" fmla="*/ 50 w 72"/>
                <a:gd name="T29" fmla="*/ 30 h 89"/>
                <a:gd name="T30" fmla="*/ 38 w 72"/>
                <a:gd name="T31" fmla="*/ 19 h 89"/>
                <a:gd name="T32" fmla="*/ 22 w 72"/>
                <a:gd name="T33" fmla="*/ 19 h 89"/>
                <a:gd name="T34" fmla="*/ 22 w 72"/>
                <a:gd name="T35" fmla="*/ 41 h 89"/>
                <a:gd name="T36" fmla="*/ 38 w 72"/>
                <a:gd name="T37" fmla="*/ 4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2" h="89">
                  <a:moveTo>
                    <a:pt x="0" y="89"/>
                  </a:moveTo>
                  <a:cubicBezTo>
                    <a:pt x="1" y="84"/>
                    <a:pt x="1" y="79"/>
                    <a:pt x="1" y="73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0"/>
                    <a:pt x="1" y="5"/>
                    <a:pt x="0" y="0"/>
                  </a:cubicBezTo>
                  <a:cubicBezTo>
                    <a:pt x="5" y="0"/>
                    <a:pt x="9" y="0"/>
                    <a:pt x="16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61" y="0"/>
                    <a:pt x="72" y="10"/>
                    <a:pt x="72" y="29"/>
                  </a:cubicBezTo>
                  <a:cubicBezTo>
                    <a:pt x="72" y="48"/>
                    <a:pt x="60" y="60"/>
                    <a:pt x="39" y="60"/>
                  </a:cubicBezTo>
                  <a:cubicBezTo>
                    <a:pt x="22" y="60"/>
                    <a:pt x="22" y="60"/>
                    <a:pt x="22" y="60"/>
                  </a:cubicBezTo>
                  <a:cubicBezTo>
                    <a:pt x="22" y="73"/>
                    <a:pt x="22" y="73"/>
                    <a:pt x="22" y="73"/>
                  </a:cubicBezTo>
                  <a:cubicBezTo>
                    <a:pt x="22" y="79"/>
                    <a:pt x="23" y="84"/>
                    <a:pt x="23" y="89"/>
                  </a:cubicBezTo>
                  <a:lnTo>
                    <a:pt x="0" y="89"/>
                  </a:lnTo>
                  <a:close/>
                  <a:moveTo>
                    <a:pt x="38" y="41"/>
                  </a:moveTo>
                  <a:cubicBezTo>
                    <a:pt x="44" y="42"/>
                    <a:pt x="50" y="38"/>
                    <a:pt x="50" y="32"/>
                  </a:cubicBezTo>
                  <a:cubicBezTo>
                    <a:pt x="50" y="31"/>
                    <a:pt x="50" y="31"/>
                    <a:pt x="50" y="30"/>
                  </a:cubicBezTo>
                  <a:cubicBezTo>
                    <a:pt x="50" y="22"/>
                    <a:pt x="46" y="19"/>
                    <a:pt x="38" y="1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2" y="41"/>
                    <a:pt x="22" y="41"/>
                    <a:pt x="22" y="41"/>
                  </a:cubicBezTo>
                  <a:lnTo>
                    <a:pt x="38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" name="ExtraShape15"/>
            <p:cNvSpPr/>
            <p:nvPr/>
          </p:nvSpPr>
          <p:spPr bwMode="auto">
            <a:xfrm>
              <a:off x="3807325" y="1924104"/>
              <a:ext cx="519148" cy="653367"/>
            </a:xfrm>
            <a:custGeom>
              <a:avLst/>
              <a:gdLst>
                <a:gd name="T0" fmla="*/ 150 w 197"/>
                <a:gd name="T1" fmla="*/ 4 h 248"/>
                <a:gd name="T2" fmla="*/ 109 w 197"/>
                <a:gd name="T3" fmla="*/ 26 h 248"/>
                <a:gd name="T4" fmla="*/ 75 w 197"/>
                <a:gd name="T5" fmla="*/ 73 h 248"/>
                <a:gd name="T6" fmla="*/ 3 w 197"/>
                <a:gd name="T7" fmla="*/ 218 h 248"/>
                <a:gd name="T8" fmla="*/ 3 w 197"/>
                <a:gd name="T9" fmla="*/ 233 h 248"/>
                <a:gd name="T10" fmla="*/ 11 w 197"/>
                <a:gd name="T11" fmla="*/ 239 h 248"/>
                <a:gd name="T12" fmla="*/ 65 w 197"/>
                <a:gd name="T13" fmla="*/ 248 h 248"/>
                <a:gd name="T14" fmla="*/ 113 w 197"/>
                <a:gd name="T15" fmla="*/ 240 h 248"/>
                <a:gd name="T16" fmla="*/ 147 w 197"/>
                <a:gd name="T17" fmla="*/ 194 h 248"/>
                <a:gd name="T18" fmla="*/ 172 w 197"/>
                <a:gd name="T19" fmla="*/ 138 h 248"/>
                <a:gd name="T20" fmla="*/ 191 w 197"/>
                <a:gd name="T21" fmla="*/ 84 h 248"/>
                <a:gd name="T22" fmla="*/ 150 w 197"/>
                <a:gd name="T23" fmla="*/ 4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7" h="248">
                  <a:moveTo>
                    <a:pt x="150" y="4"/>
                  </a:moveTo>
                  <a:cubicBezTo>
                    <a:pt x="134" y="5"/>
                    <a:pt x="120" y="15"/>
                    <a:pt x="109" y="26"/>
                  </a:cubicBezTo>
                  <a:cubicBezTo>
                    <a:pt x="96" y="41"/>
                    <a:pt x="85" y="56"/>
                    <a:pt x="75" y="73"/>
                  </a:cubicBezTo>
                  <a:cubicBezTo>
                    <a:pt x="47" y="119"/>
                    <a:pt x="18" y="166"/>
                    <a:pt x="3" y="218"/>
                  </a:cubicBezTo>
                  <a:cubicBezTo>
                    <a:pt x="1" y="223"/>
                    <a:pt x="0" y="229"/>
                    <a:pt x="3" y="233"/>
                  </a:cubicBezTo>
                  <a:cubicBezTo>
                    <a:pt x="5" y="236"/>
                    <a:pt x="8" y="238"/>
                    <a:pt x="11" y="239"/>
                  </a:cubicBezTo>
                  <a:cubicBezTo>
                    <a:pt x="28" y="247"/>
                    <a:pt x="47" y="247"/>
                    <a:pt x="65" y="248"/>
                  </a:cubicBezTo>
                  <a:cubicBezTo>
                    <a:pt x="82" y="248"/>
                    <a:pt x="99" y="248"/>
                    <a:pt x="113" y="240"/>
                  </a:cubicBezTo>
                  <a:cubicBezTo>
                    <a:pt x="130" y="231"/>
                    <a:pt x="139" y="212"/>
                    <a:pt x="147" y="194"/>
                  </a:cubicBezTo>
                  <a:cubicBezTo>
                    <a:pt x="172" y="138"/>
                    <a:pt x="172" y="138"/>
                    <a:pt x="172" y="138"/>
                  </a:cubicBezTo>
                  <a:cubicBezTo>
                    <a:pt x="180" y="121"/>
                    <a:pt x="188" y="103"/>
                    <a:pt x="191" y="84"/>
                  </a:cubicBezTo>
                  <a:cubicBezTo>
                    <a:pt x="197" y="55"/>
                    <a:pt x="190" y="0"/>
                    <a:pt x="150" y="4"/>
                  </a:cubicBezTo>
                  <a:close/>
                </a:path>
              </a:pathLst>
            </a:custGeom>
            <a:solidFill>
              <a:srgbClr val="68AF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" name="ExtraShape16"/>
            <p:cNvSpPr/>
            <p:nvPr/>
          </p:nvSpPr>
          <p:spPr bwMode="auto">
            <a:xfrm>
              <a:off x="3946608" y="2155822"/>
              <a:ext cx="367202" cy="392526"/>
            </a:xfrm>
            <a:custGeom>
              <a:avLst/>
              <a:gdLst>
                <a:gd name="T0" fmla="*/ 78 w 139"/>
                <a:gd name="T1" fmla="*/ 127 h 149"/>
                <a:gd name="T2" fmla="*/ 69 w 139"/>
                <a:gd name="T3" fmla="*/ 139 h 149"/>
                <a:gd name="T4" fmla="*/ 65 w 139"/>
                <a:gd name="T5" fmla="*/ 145 h 149"/>
                <a:gd name="T6" fmla="*/ 48 w 139"/>
                <a:gd name="T7" fmla="*/ 149 h 149"/>
                <a:gd name="T8" fmla="*/ 37 w 139"/>
                <a:gd name="T9" fmla="*/ 148 h 149"/>
                <a:gd name="T10" fmla="*/ 7 w 139"/>
                <a:gd name="T11" fmla="*/ 142 h 149"/>
                <a:gd name="T12" fmla="*/ 0 w 139"/>
                <a:gd name="T13" fmla="*/ 134 h 149"/>
                <a:gd name="T14" fmla="*/ 2 w 139"/>
                <a:gd name="T15" fmla="*/ 130 h 149"/>
                <a:gd name="T16" fmla="*/ 95 w 139"/>
                <a:gd name="T17" fmla="*/ 3 h 149"/>
                <a:gd name="T18" fmla="*/ 99 w 139"/>
                <a:gd name="T19" fmla="*/ 0 h 149"/>
                <a:gd name="T20" fmla="*/ 107 w 139"/>
                <a:gd name="T21" fmla="*/ 2 h 149"/>
                <a:gd name="T22" fmla="*/ 78 w 139"/>
                <a:gd name="T23" fmla="*/ 127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9" h="149">
                  <a:moveTo>
                    <a:pt x="78" y="127"/>
                  </a:moveTo>
                  <a:cubicBezTo>
                    <a:pt x="75" y="132"/>
                    <a:pt x="72" y="136"/>
                    <a:pt x="69" y="139"/>
                  </a:cubicBezTo>
                  <a:cubicBezTo>
                    <a:pt x="68" y="141"/>
                    <a:pt x="67" y="143"/>
                    <a:pt x="65" y="145"/>
                  </a:cubicBezTo>
                  <a:cubicBezTo>
                    <a:pt x="60" y="148"/>
                    <a:pt x="54" y="149"/>
                    <a:pt x="48" y="149"/>
                  </a:cubicBezTo>
                  <a:cubicBezTo>
                    <a:pt x="45" y="149"/>
                    <a:pt x="41" y="149"/>
                    <a:pt x="37" y="148"/>
                  </a:cubicBezTo>
                  <a:cubicBezTo>
                    <a:pt x="27" y="148"/>
                    <a:pt x="17" y="146"/>
                    <a:pt x="7" y="142"/>
                  </a:cubicBezTo>
                  <a:cubicBezTo>
                    <a:pt x="3" y="142"/>
                    <a:pt x="0" y="138"/>
                    <a:pt x="0" y="134"/>
                  </a:cubicBezTo>
                  <a:cubicBezTo>
                    <a:pt x="0" y="133"/>
                    <a:pt x="1" y="131"/>
                    <a:pt x="2" y="130"/>
                  </a:cubicBezTo>
                  <a:cubicBezTo>
                    <a:pt x="23" y="81"/>
                    <a:pt x="54" y="37"/>
                    <a:pt x="95" y="3"/>
                  </a:cubicBezTo>
                  <a:cubicBezTo>
                    <a:pt x="96" y="2"/>
                    <a:pt x="98" y="1"/>
                    <a:pt x="99" y="0"/>
                  </a:cubicBezTo>
                  <a:cubicBezTo>
                    <a:pt x="102" y="0"/>
                    <a:pt x="105" y="0"/>
                    <a:pt x="107" y="2"/>
                  </a:cubicBezTo>
                  <a:cubicBezTo>
                    <a:pt x="139" y="28"/>
                    <a:pt x="100" y="94"/>
                    <a:pt x="78" y="127"/>
                  </a:cubicBezTo>
                  <a:close/>
                </a:path>
              </a:pathLst>
            </a:custGeom>
            <a:gradFill>
              <a:gsLst>
                <a:gs pos="0">
                  <a:schemeClr val="tx1">
                    <a:alpha val="40000"/>
                  </a:schemeClr>
                </a:gs>
                <a:gs pos="100000">
                  <a:srgbClr val="68AFFD">
                    <a:alpha val="0"/>
                  </a:srgbClr>
                </a:gs>
              </a:gsLst>
              <a:lin ang="5400000" scaled="1"/>
            </a:gra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31" name="ExtraShape17"/>
            <p:cNvSpPr/>
            <p:nvPr/>
          </p:nvSpPr>
          <p:spPr bwMode="auto">
            <a:xfrm>
              <a:off x="4234039" y="1743036"/>
              <a:ext cx="338080" cy="286164"/>
            </a:xfrm>
            <a:custGeom>
              <a:avLst/>
              <a:gdLst>
                <a:gd name="T0" fmla="*/ 115 w 128"/>
                <a:gd name="T1" fmla="*/ 39 h 109"/>
                <a:gd name="T2" fmla="*/ 94 w 128"/>
                <a:gd name="T3" fmla="*/ 87 h 109"/>
                <a:gd name="T4" fmla="*/ 82 w 128"/>
                <a:gd name="T5" fmla="*/ 100 h 109"/>
                <a:gd name="T6" fmla="*/ 66 w 128"/>
                <a:gd name="T7" fmla="*/ 105 h 109"/>
                <a:gd name="T8" fmla="*/ 44 w 128"/>
                <a:gd name="T9" fmla="*/ 98 h 109"/>
                <a:gd name="T10" fmla="*/ 23 w 128"/>
                <a:gd name="T11" fmla="*/ 109 h 109"/>
                <a:gd name="T12" fmla="*/ 8 w 128"/>
                <a:gd name="T13" fmla="*/ 98 h 109"/>
                <a:gd name="T14" fmla="*/ 1 w 128"/>
                <a:gd name="T15" fmla="*/ 79 h 109"/>
                <a:gd name="T16" fmla="*/ 9 w 128"/>
                <a:gd name="T17" fmla="*/ 64 h 109"/>
                <a:gd name="T18" fmla="*/ 50 w 128"/>
                <a:gd name="T19" fmla="*/ 17 h 109"/>
                <a:gd name="T20" fmla="*/ 70 w 128"/>
                <a:gd name="T21" fmla="*/ 1 h 109"/>
                <a:gd name="T22" fmla="*/ 91 w 128"/>
                <a:gd name="T23" fmla="*/ 1 h 109"/>
                <a:gd name="T24" fmla="*/ 116 w 128"/>
                <a:gd name="T25" fmla="*/ 9 h 109"/>
                <a:gd name="T26" fmla="*/ 124 w 128"/>
                <a:gd name="T27" fmla="*/ 3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8" h="109">
                  <a:moveTo>
                    <a:pt x="115" y="39"/>
                  </a:moveTo>
                  <a:cubicBezTo>
                    <a:pt x="116" y="57"/>
                    <a:pt x="105" y="73"/>
                    <a:pt x="94" y="87"/>
                  </a:cubicBezTo>
                  <a:cubicBezTo>
                    <a:pt x="91" y="92"/>
                    <a:pt x="87" y="96"/>
                    <a:pt x="82" y="100"/>
                  </a:cubicBezTo>
                  <a:cubicBezTo>
                    <a:pt x="78" y="104"/>
                    <a:pt x="72" y="105"/>
                    <a:pt x="66" y="105"/>
                  </a:cubicBezTo>
                  <a:cubicBezTo>
                    <a:pt x="59" y="103"/>
                    <a:pt x="52" y="96"/>
                    <a:pt x="44" y="98"/>
                  </a:cubicBezTo>
                  <a:cubicBezTo>
                    <a:pt x="37" y="99"/>
                    <a:pt x="31" y="109"/>
                    <a:pt x="23" y="109"/>
                  </a:cubicBezTo>
                  <a:cubicBezTo>
                    <a:pt x="16" y="109"/>
                    <a:pt x="11" y="103"/>
                    <a:pt x="8" y="98"/>
                  </a:cubicBezTo>
                  <a:cubicBezTo>
                    <a:pt x="4" y="92"/>
                    <a:pt x="0" y="85"/>
                    <a:pt x="1" y="79"/>
                  </a:cubicBezTo>
                  <a:cubicBezTo>
                    <a:pt x="2" y="73"/>
                    <a:pt x="5" y="68"/>
                    <a:pt x="9" y="64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55" y="11"/>
                    <a:pt x="62" y="4"/>
                    <a:pt x="70" y="1"/>
                  </a:cubicBezTo>
                  <a:cubicBezTo>
                    <a:pt x="77" y="0"/>
                    <a:pt x="84" y="0"/>
                    <a:pt x="91" y="1"/>
                  </a:cubicBezTo>
                  <a:cubicBezTo>
                    <a:pt x="100" y="3"/>
                    <a:pt x="109" y="4"/>
                    <a:pt x="116" y="9"/>
                  </a:cubicBezTo>
                  <a:cubicBezTo>
                    <a:pt x="123" y="14"/>
                    <a:pt x="128" y="24"/>
                    <a:pt x="124" y="32"/>
                  </a:cubicBezTo>
                </a:path>
              </a:pathLst>
            </a:custGeom>
            <a:solidFill>
              <a:srgbClr val="FFE7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" name="ExtraShape18"/>
            <p:cNvSpPr/>
            <p:nvPr/>
          </p:nvSpPr>
          <p:spPr bwMode="auto">
            <a:xfrm>
              <a:off x="4274558" y="1711380"/>
              <a:ext cx="314021" cy="210192"/>
            </a:xfrm>
            <a:custGeom>
              <a:avLst/>
              <a:gdLst>
                <a:gd name="T0" fmla="*/ 105 w 119"/>
                <a:gd name="T1" fmla="*/ 54 h 80"/>
                <a:gd name="T2" fmla="*/ 82 w 119"/>
                <a:gd name="T3" fmla="*/ 49 h 80"/>
                <a:gd name="T4" fmla="*/ 52 w 119"/>
                <a:gd name="T5" fmla="*/ 58 h 80"/>
                <a:gd name="T6" fmla="*/ 48 w 119"/>
                <a:gd name="T7" fmla="*/ 61 h 80"/>
                <a:gd name="T8" fmla="*/ 45 w 119"/>
                <a:gd name="T9" fmla="*/ 55 h 80"/>
                <a:gd name="T10" fmla="*/ 35 w 119"/>
                <a:gd name="T11" fmla="*/ 52 h 80"/>
                <a:gd name="T12" fmla="*/ 35 w 119"/>
                <a:gd name="T13" fmla="*/ 52 h 80"/>
                <a:gd name="T14" fmla="*/ 30 w 119"/>
                <a:gd name="T15" fmla="*/ 63 h 80"/>
                <a:gd name="T16" fmla="*/ 29 w 119"/>
                <a:gd name="T17" fmla="*/ 68 h 80"/>
                <a:gd name="T18" fmla="*/ 25 w 119"/>
                <a:gd name="T19" fmla="*/ 71 h 80"/>
                <a:gd name="T20" fmla="*/ 15 w 119"/>
                <a:gd name="T21" fmla="*/ 78 h 80"/>
                <a:gd name="T22" fmla="*/ 9 w 119"/>
                <a:gd name="T23" fmla="*/ 80 h 80"/>
                <a:gd name="T24" fmla="*/ 0 w 119"/>
                <a:gd name="T25" fmla="*/ 72 h 80"/>
                <a:gd name="T26" fmla="*/ 2 w 119"/>
                <a:gd name="T27" fmla="*/ 58 h 80"/>
                <a:gd name="T28" fmla="*/ 5 w 119"/>
                <a:gd name="T29" fmla="*/ 44 h 80"/>
                <a:gd name="T30" fmla="*/ 25 w 119"/>
                <a:gd name="T31" fmla="*/ 15 h 80"/>
                <a:gd name="T32" fmla="*/ 57 w 119"/>
                <a:gd name="T33" fmla="*/ 3 h 80"/>
                <a:gd name="T34" fmla="*/ 70 w 119"/>
                <a:gd name="T35" fmla="*/ 1 h 80"/>
                <a:gd name="T36" fmla="*/ 104 w 119"/>
                <a:gd name="T37" fmla="*/ 15 h 80"/>
                <a:gd name="T38" fmla="*/ 114 w 119"/>
                <a:gd name="T39" fmla="*/ 26 h 80"/>
                <a:gd name="T40" fmla="*/ 118 w 119"/>
                <a:gd name="T41" fmla="*/ 42 h 80"/>
                <a:gd name="T42" fmla="*/ 105 w 119"/>
                <a:gd name="T43" fmla="*/ 5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9" h="80">
                  <a:moveTo>
                    <a:pt x="105" y="54"/>
                  </a:moveTo>
                  <a:cubicBezTo>
                    <a:pt x="97" y="55"/>
                    <a:pt x="89" y="50"/>
                    <a:pt x="82" y="49"/>
                  </a:cubicBezTo>
                  <a:cubicBezTo>
                    <a:pt x="71" y="47"/>
                    <a:pt x="60" y="50"/>
                    <a:pt x="52" y="58"/>
                  </a:cubicBezTo>
                  <a:cubicBezTo>
                    <a:pt x="51" y="59"/>
                    <a:pt x="49" y="61"/>
                    <a:pt x="48" y="61"/>
                  </a:cubicBezTo>
                  <a:cubicBezTo>
                    <a:pt x="46" y="60"/>
                    <a:pt x="46" y="57"/>
                    <a:pt x="45" y="55"/>
                  </a:cubicBezTo>
                  <a:cubicBezTo>
                    <a:pt x="43" y="51"/>
                    <a:pt x="39" y="50"/>
                    <a:pt x="35" y="52"/>
                  </a:cubicBezTo>
                  <a:cubicBezTo>
                    <a:pt x="35" y="52"/>
                    <a:pt x="35" y="52"/>
                    <a:pt x="35" y="52"/>
                  </a:cubicBezTo>
                  <a:cubicBezTo>
                    <a:pt x="31" y="55"/>
                    <a:pt x="29" y="59"/>
                    <a:pt x="30" y="63"/>
                  </a:cubicBezTo>
                  <a:cubicBezTo>
                    <a:pt x="30" y="64"/>
                    <a:pt x="29" y="66"/>
                    <a:pt x="29" y="68"/>
                  </a:cubicBezTo>
                  <a:cubicBezTo>
                    <a:pt x="28" y="69"/>
                    <a:pt x="27" y="71"/>
                    <a:pt x="25" y="71"/>
                  </a:cubicBezTo>
                  <a:cubicBezTo>
                    <a:pt x="15" y="78"/>
                    <a:pt x="15" y="78"/>
                    <a:pt x="15" y="78"/>
                  </a:cubicBezTo>
                  <a:cubicBezTo>
                    <a:pt x="13" y="79"/>
                    <a:pt x="11" y="80"/>
                    <a:pt x="9" y="80"/>
                  </a:cubicBezTo>
                  <a:cubicBezTo>
                    <a:pt x="4" y="80"/>
                    <a:pt x="1" y="77"/>
                    <a:pt x="0" y="72"/>
                  </a:cubicBezTo>
                  <a:cubicBezTo>
                    <a:pt x="0" y="67"/>
                    <a:pt x="0" y="63"/>
                    <a:pt x="2" y="58"/>
                  </a:cubicBezTo>
                  <a:cubicBezTo>
                    <a:pt x="3" y="54"/>
                    <a:pt x="3" y="49"/>
                    <a:pt x="5" y="44"/>
                  </a:cubicBezTo>
                  <a:cubicBezTo>
                    <a:pt x="8" y="33"/>
                    <a:pt x="15" y="22"/>
                    <a:pt x="25" y="15"/>
                  </a:cubicBezTo>
                  <a:cubicBezTo>
                    <a:pt x="35" y="10"/>
                    <a:pt x="46" y="5"/>
                    <a:pt x="57" y="3"/>
                  </a:cubicBezTo>
                  <a:cubicBezTo>
                    <a:pt x="61" y="2"/>
                    <a:pt x="66" y="1"/>
                    <a:pt x="70" y="1"/>
                  </a:cubicBezTo>
                  <a:cubicBezTo>
                    <a:pt x="82" y="0"/>
                    <a:pt x="94" y="7"/>
                    <a:pt x="104" y="15"/>
                  </a:cubicBezTo>
                  <a:cubicBezTo>
                    <a:pt x="108" y="17"/>
                    <a:pt x="112" y="21"/>
                    <a:pt x="114" y="26"/>
                  </a:cubicBezTo>
                  <a:cubicBezTo>
                    <a:pt x="116" y="30"/>
                    <a:pt x="119" y="38"/>
                    <a:pt x="118" y="42"/>
                  </a:cubicBezTo>
                  <a:cubicBezTo>
                    <a:pt x="117" y="49"/>
                    <a:pt x="111" y="54"/>
                    <a:pt x="105" y="54"/>
                  </a:cubicBez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" name="ExtraShape19"/>
            <p:cNvSpPr/>
            <p:nvPr/>
          </p:nvSpPr>
          <p:spPr bwMode="auto">
            <a:xfrm>
              <a:off x="4277090" y="2045661"/>
              <a:ext cx="402656" cy="463434"/>
            </a:xfrm>
            <a:custGeom>
              <a:avLst/>
              <a:gdLst>
                <a:gd name="T0" fmla="*/ 29 w 318"/>
                <a:gd name="T1" fmla="*/ 0 h 366"/>
                <a:gd name="T2" fmla="*/ 171 w 318"/>
                <a:gd name="T3" fmla="*/ 183 h 366"/>
                <a:gd name="T4" fmla="*/ 318 w 318"/>
                <a:gd name="T5" fmla="*/ 305 h 366"/>
                <a:gd name="T6" fmla="*/ 266 w 318"/>
                <a:gd name="T7" fmla="*/ 366 h 366"/>
                <a:gd name="T8" fmla="*/ 85 w 318"/>
                <a:gd name="T9" fmla="*/ 222 h 366"/>
                <a:gd name="T10" fmla="*/ 0 w 318"/>
                <a:gd name="T11" fmla="*/ 91 h 366"/>
                <a:gd name="T12" fmla="*/ 29 w 318"/>
                <a:gd name="T13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8" h="366">
                  <a:moveTo>
                    <a:pt x="29" y="0"/>
                  </a:moveTo>
                  <a:lnTo>
                    <a:pt x="171" y="183"/>
                  </a:lnTo>
                  <a:lnTo>
                    <a:pt x="318" y="305"/>
                  </a:lnTo>
                  <a:lnTo>
                    <a:pt x="266" y="366"/>
                  </a:lnTo>
                  <a:lnTo>
                    <a:pt x="85" y="222"/>
                  </a:lnTo>
                  <a:lnTo>
                    <a:pt x="0" y="91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68AF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" name="ExtraShape20"/>
            <p:cNvSpPr/>
            <p:nvPr/>
          </p:nvSpPr>
          <p:spPr bwMode="auto">
            <a:xfrm>
              <a:off x="4294817" y="2045661"/>
              <a:ext cx="388728" cy="463434"/>
            </a:xfrm>
            <a:custGeom>
              <a:avLst/>
              <a:gdLst>
                <a:gd name="T0" fmla="*/ 15 w 307"/>
                <a:gd name="T1" fmla="*/ 0 h 366"/>
                <a:gd name="T2" fmla="*/ 157 w 307"/>
                <a:gd name="T3" fmla="*/ 183 h 366"/>
                <a:gd name="T4" fmla="*/ 307 w 307"/>
                <a:gd name="T5" fmla="*/ 316 h 366"/>
                <a:gd name="T6" fmla="*/ 252 w 307"/>
                <a:gd name="T7" fmla="*/ 366 h 366"/>
                <a:gd name="T8" fmla="*/ 71 w 307"/>
                <a:gd name="T9" fmla="*/ 222 h 366"/>
                <a:gd name="T10" fmla="*/ 0 w 307"/>
                <a:gd name="T11" fmla="*/ 106 h 366"/>
                <a:gd name="T12" fmla="*/ 15 w 307"/>
                <a:gd name="T13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7" h="366">
                  <a:moveTo>
                    <a:pt x="15" y="0"/>
                  </a:moveTo>
                  <a:lnTo>
                    <a:pt x="157" y="183"/>
                  </a:lnTo>
                  <a:lnTo>
                    <a:pt x="307" y="316"/>
                  </a:lnTo>
                  <a:lnTo>
                    <a:pt x="252" y="366"/>
                  </a:lnTo>
                  <a:lnTo>
                    <a:pt x="71" y="222"/>
                  </a:lnTo>
                  <a:lnTo>
                    <a:pt x="0" y="106"/>
                  </a:lnTo>
                  <a:lnTo>
                    <a:pt x="15" y="0"/>
                  </a:lnTo>
                  <a:close/>
                </a:path>
              </a:pathLst>
            </a:custGeom>
            <a:gradFill>
              <a:gsLst>
                <a:gs pos="10000">
                  <a:schemeClr val="tx1">
                    <a:alpha val="40000"/>
                  </a:schemeClr>
                </a:gs>
                <a:gs pos="100000">
                  <a:srgbClr val="68AFFD">
                    <a:alpha val="0"/>
                  </a:srgbClr>
                </a:gs>
              </a:gsLst>
              <a:lin ang="5400000" scaled="1"/>
            </a:gra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35" name="ExtraShape21"/>
            <p:cNvSpPr/>
            <p:nvPr/>
          </p:nvSpPr>
          <p:spPr bwMode="auto">
            <a:xfrm>
              <a:off x="4142871" y="2040596"/>
              <a:ext cx="514083" cy="536875"/>
            </a:xfrm>
            <a:custGeom>
              <a:avLst/>
              <a:gdLst>
                <a:gd name="T0" fmla="*/ 35 w 195"/>
                <a:gd name="T1" fmla="*/ 0 h 204"/>
                <a:gd name="T2" fmla="*/ 111 w 195"/>
                <a:gd name="T3" fmla="*/ 110 h 204"/>
                <a:gd name="T4" fmla="*/ 195 w 195"/>
                <a:gd name="T5" fmla="*/ 174 h 204"/>
                <a:gd name="T6" fmla="*/ 164 w 195"/>
                <a:gd name="T7" fmla="*/ 204 h 204"/>
                <a:gd name="T8" fmla="*/ 89 w 195"/>
                <a:gd name="T9" fmla="*/ 148 h 204"/>
                <a:gd name="T10" fmla="*/ 2 w 195"/>
                <a:gd name="T11" fmla="*/ 46 h 204"/>
                <a:gd name="T12" fmla="*/ 35 w 195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5" h="204">
                  <a:moveTo>
                    <a:pt x="35" y="0"/>
                  </a:moveTo>
                  <a:cubicBezTo>
                    <a:pt x="111" y="110"/>
                    <a:pt x="111" y="110"/>
                    <a:pt x="111" y="110"/>
                  </a:cubicBezTo>
                  <a:cubicBezTo>
                    <a:pt x="195" y="174"/>
                    <a:pt x="195" y="174"/>
                    <a:pt x="195" y="174"/>
                  </a:cubicBezTo>
                  <a:cubicBezTo>
                    <a:pt x="164" y="204"/>
                    <a:pt x="164" y="204"/>
                    <a:pt x="164" y="204"/>
                  </a:cubicBezTo>
                  <a:cubicBezTo>
                    <a:pt x="89" y="148"/>
                    <a:pt x="89" y="148"/>
                    <a:pt x="89" y="148"/>
                  </a:cubicBezTo>
                  <a:cubicBezTo>
                    <a:pt x="89" y="148"/>
                    <a:pt x="4" y="56"/>
                    <a:pt x="2" y="46"/>
                  </a:cubicBezTo>
                  <a:cubicBezTo>
                    <a:pt x="0" y="36"/>
                    <a:pt x="0" y="0"/>
                    <a:pt x="35" y="0"/>
                  </a:cubicBezTo>
                  <a:close/>
                </a:path>
              </a:pathLst>
            </a:custGeom>
            <a:solidFill>
              <a:srgbClr val="68AF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" name="ExtraShape22"/>
            <p:cNvSpPr/>
            <p:nvPr/>
          </p:nvSpPr>
          <p:spPr bwMode="auto">
            <a:xfrm>
              <a:off x="3912420" y="3244766"/>
              <a:ext cx="213991" cy="210192"/>
            </a:xfrm>
            <a:custGeom>
              <a:avLst/>
              <a:gdLst>
                <a:gd name="T0" fmla="*/ 10 w 81"/>
                <a:gd name="T1" fmla="*/ 0 h 80"/>
                <a:gd name="T2" fmla="*/ 41 w 81"/>
                <a:gd name="T3" fmla="*/ 16 h 80"/>
                <a:gd name="T4" fmla="*/ 63 w 81"/>
                <a:gd name="T5" fmla="*/ 41 h 80"/>
                <a:gd name="T6" fmla="*/ 52 w 81"/>
                <a:gd name="T7" fmla="*/ 75 h 80"/>
                <a:gd name="T8" fmla="*/ 0 w 81"/>
                <a:gd name="T9" fmla="*/ 28 h 80"/>
                <a:gd name="T10" fmla="*/ 10 w 81"/>
                <a:gd name="T11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" h="80">
                  <a:moveTo>
                    <a:pt x="10" y="0"/>
                  </a:moveTo>
                  <a:cubicBezTo>
                    <a:pt x="10" y="0"/>
                    <a:pt x="27" y="15"/>
                    <a:pt x="41" y="16"/>
                  </a:cubicBezTo>
                  <a:cubicBezTo>
                    <a:pt x="54" y="16"/>
                    <a:pt x="63" y="41"/>
                    <a:pt x="63" y="41"/>
                  </a:cubicBezTo>
                  <a:cubicBezTo>
                    <a:pt x="63" y="41"/>
                    <a:pt x="81" y="80"/>
                    <a:pt x="52" y="75"/>
                  </a:cubicBezTo>
                  <a:cubicBezTo>
                    <a:pt x="23" y="70"/>
                    <a:pt x="1" y="41"/>
                    <a:pt x="0" y="28"/>
                  </a:cubicBezTo>
                  <a:cubicBezTo>
                    <a:pt x="0" y="15"/>
                    <a:pt x="10" y="0"/>
                    <a:pt x="10" y="0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37" name="CustomText"/>
            <p:cNvSpPr/>
            <p:nvPr/>
          </p:nvSpPr>
          <p:spPr>
            <a:xfrm>
              <a:off x="5463481" y="2402615"/>
              <a:ext cx="1828518" cy="371978"/>
            </a:xfrm>
            <a:prstGeom prst="rect">
              <a:avLst/>
            </a:prstGeom>
            <a:noFill/>
          </p:spPr>
          <p:txBody>
            <a:bodyPr wrap="square" lIns="90000" tIns="46800" rIns="90000" bIns="46800" anchor="ctr">
              <a:normAutofit fontScale="77500" lnSpcReduction="20000"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800" b="1" i="0" strike="noStrike" kern="1200" cap="none" spc="0" normalizeH="0" baseline="0" noProof="0" dirty="0">
                  <a:effectLst/>
                  <a:uLnTx/>
                  <a:uFillTx/>
                </a:rPr>
                <a:t>TEXT HERE</a:t>
              </a:r>
              <a:endParaRPr kumimoji="0" lang="en-US" altLang="zh-CN" sz="2800" b="1" i="0" strike="noStrike" kern="1200" cap="none" spc="0" normalizeH="0" baseline="0" noProof="0" dirty="0">
                <a:effectLst/>
                <a:uLnTx/>
                <a:uFillTx/>
              </a:endParaRPr>
            </a:p>
          </p:txBody>
        </p:sp>
        <p:sp>
          <p:nvSpPr>
            <p:cNvPr id="38" name="CustomText"/>
            <p:cNvSpPr/>
            <p:nvPr/>
          </p:nvSpPr>
          <p:spPr>
            <a:xfrm>
              <a:off x="5457567" y="2767449"/>
              <a:ext cx="1828518" cy="265141"/>
            </a:xfrm>
            <a:prstGeom prst="rect">
              <a:avLst/>
            </a:prstGeom>
            <a:noFill/>
          </p:spPr>
          <p:txBody>
            <a:bodyPr wrap="none" lIns="90000" tIns="46800" rIns="90000" bIns="46800">
              <a:normAutofit fontScale="70000" lnSpcReduction="20000"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0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Supporting text here</a:t>
              </a:r>
              <a:endParaRPr kumimoji="0" lang="en-US" altLang="zh-CN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</p:grpSp>
      <p:sp>
        <p:nvSpPr>
          <p:cNvPr id="41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42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4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单元测试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c7fc57f2-2299-486c-a934-482e6ec57af4" descr="DQ8AAB+LCAAAAAAABADVV01v2kAQ/S/b9IYQ/sKYWyh21EOaSES5VBy29gDb+gOt11JQxH/vejFlDGvLKHGUckDs7Mz6zZu3D3glNywiU2KQAbkRuy3Iz4uEcjFndM1pcp9FEMu9R55tgQsGOZn+fK2KTFT0TOMCqqydjN+zlCVFosJkOhqOZIi+oJAxUsE5hCyh8ZytmZBny8j3/BF4CKmoEgUvYECqhe0NPfxyzQG541mxVT3sB0doFoL2LYszjqBVRx1TbZT6sFqxEJ42kICqkltPLBW3abTY0OjYyIyz9UakkOdV4OHXbwgFKps6slAdqdKLfCMP/xIEY2tmuxOJUwva6Q56/EbQkytA+44f+G4TaBcrR3CWri9Rk9FXoq+eoOpZlsVA08vygwJ05d7HK3DsDK2JPTac6t22T9BMBM0YdZ+mYfShQVc/TtO3A3eMx1mDbV4B2+pDhQ2wfdP3AqsRtn21DGvlThcdrmicQ+2ApYTI0kg+DfuigW/nHacRk1qq8pSXSr3xXZ3cklQOK2VdsscFhFkatWQ5ZZYmbqo4ldYNAniuds6QoN0j1SRgcWnzt+k6lkvTVcOSg9vCD5lbNncgQYUMstxffiWcnl9rpYb4E6ctkRqwpz3BC5rdmbSmaRHHeA7VWsu/4i6vsa9huHyehmB1sOYNw56cX12sOb3O9EgPomuRSVi6o7zxOYjqnh6v9b9gKSBsALUNTd8zGv5pE5bVOLzWBebH652fcng98dOgi3fkxxy9xbbk910X3zLMBuPyPsC4zBb+PEyMaqaO+T9IxLM0OlvY6Qj7+tF097TO3Hdf4H4vfra03u2DWD+X+bURdDbrq1aYpYu/Re/PUs8W2B9Ly/1fUOLKJA0PAAA="/>
          <p:cNvGrpSpPr>
            <a:grpSpLocks noChangeAspect="1"/>
          </p:cNvGrpSpPr>
          <p:nvPr/>
        </p:nvGrpSpPr>
        <p:grpSpPr>
          <a:xfrm>
            <a:off x="2635321" y="1157431"/>
            <a:ext cx="6921359" cy="5007587"/>
            <a:chOff x="2603697" y="1107828"/>
            <a:chExt cx="6921359" cy="5007587"/>
          </a:xfrm>
        </p:grpSpPr>
        <p:sp>
          <p:nvSpPr>
            <p:cNvPr id="3" name="ValueShape1"/>
            <p:cNvSpPr/>
            <p:nvPr/>
          </p:nvSpPr>
          <p:spPr>
            <a:xfrm>
              <a:off x="4069135" y="1107828"/>
              <a:ext cx="1977281" cy="3678359"/>
            </a:xfrm>
            <a:custGeom>
              <a:avLst/>
              <a:gdLst>
                <a:gd name="connsiteX0" fmla="*/ 1637819 w 1977281"/>
                <a:gd name="connsiteY0" fmla="*/ 369 h 3678359"/>
                <a:gd name="connsiteX1" fmla="*/ 1768750 w 1977281"/>
                <a:gd name="connsiteY1" fmla="*/ 22612 h 3678359"/>
                <a:gd name="connsiteX2" fmla="*/ 1835373 w 1977281"/>
                <a:gd name="connsiteY2" fmla="*/ 54611 h 3678359"/>
                <a:gd name="connsiteX3" fmla="*/ 1917053 w 1977281"/>
                <a:gd name="connsiteY3" fmla="*/ 131862 h 3678359"/>
                <a:gd name="connsiteX4" fmla="*/ 1950069 w 1977281"/>
                <a:gd name="connsiteY4" fmla="*/ 199178 h 3678359"/>
                <a:gd name="connsiteX5" fmla="*/ 1972073 w 1977281"/>
                <a:gd name="connsiteY5" fmla="*/ 294310 h 3678359"/>
                <a:gd name="connsiteX6" fmla="*/ 1977281 w 1977281"/>
                <a:gd name="connsiteY6" fmla="*/ 350565 h 3678359"/>
                <a:gd name="connsiteX7" fmla="*/ 1976042 w 1977281"/>
                <a:gd name="connsiteY7" fmla="*/ 1045816 h 3678359"/>
                <a:gd name="connsiteX8" fmla="*/ 1968509 w 1977281"/>
                <a:gd name="connsiteY8" fmla="*/ 1060880 h 3678359"/>
                <a:gd name="connsiteX9" fmla="*/ 1944161 w 1977281"/>
                <a:gd name="connsiteY9" fmla="*/ 1187831 h 3678359"/>
                <a:gd name="connsiteX10" fmla="*/ 1863029 w 1977281"/>
                <a:gd name="connsiteY10" fmla="*/ 1384854 h 3678359"/>
                <a:gd name="connsiteX11" fmla="*/ 1748877 w 1977281"/>
                <a:gd name="connsiteY11" fmla="*/ 1552252 h 3678359"/>
                <a:gd name="connsiteX12" fmla="*/ 1468443 w 1977281"/>
                <a:gd name="connsiteY12" fmla="*/ 1776792 h 3678359"/>
                <a:gd name="connsiteX13" fmla="*/ 1015372 w 1977281"/>
                <a:gd name="connsiteY13" fmla="*/ 1905960 h 3678359"/>
                <a:gd name="connsiteX14" fmla="*/ 873429 w 1977281"/>
                <a:gd name="connsiteY14" fmla="*/ 1911533 h 3678359"/>
                <a:gd name="connsiteX15" fmla="*/ 615039 w 1977281"/>
                <a:gd name="connsiteY15" fmla="*/ 1891987 h 3678359"/>
                <a:gd name="connsiteX16" fmla="*/ 475995 w 1977281"/>
                <a:gd name="connsiteY16" fmla="*/ 1874370 h 3678359"/>
                <a:gd name="connsiteX17" fmla="*/ 354914 w 1977281"/>
                <a:gd name="connsiteY17" fmla="*/ 1841125 h 3678359"/>
                <a:gd name="connsiteX18" fmla="*/ 281332 w 1977281"/>
                <a:gd name="connsiteY18" fmla="*/ 1872321 h 3678359"/>
                <a:gd name="connsiteX19" fmla="*/ 316665 w 1977281"/>
                <a:gd name="connsiteY19" fmla="*/ 1943700 h 3678359"/>
                <a:gd name="connsiteX20" fmla="*/ 454547 w 1977281"/>
                <a:gd name="connsiteY20" fmla="*/ 1978131 h 3678359"/>
                <a:gd name="connsiteX21" fmla="*/ 675858 w 1977281"/>
                <a:gd name="connsiteY21" fmla="*/ 2008055 h 3678359"/>
                <a:gd name="connsiteX22" fmla="*/ 875155 w 1977281"/>
                <a:gd name="connsiteY22" fmla="*/ 2018230 h 3678359"/>
                <a:gd name="connsiteX23" fmla="*/ 1023470 w 1977281"/>
                <a:gd name="connsiteY23" fmla="*/ 2014407 h 3678359"/>
                <a:gd name="connsiteX24" fmla="*/ 1342123 w 1977281"/>
                <a:gd name="connsiteY24" fmla="*/ 1951129 h 3678359"/>
                <a:gd name="connsiteX25" fmla="*/ 1737270 w 1977281"/>
                <a:gd name="connsiteY25" fmla="*/ 1720393 h 3678359"/>
                <a:gd name="connsiteX26" fmla="*/ 1919792 w 1977281"/>
                <a:gd name="connsiteY26" fmla="*/ 1503236 h 3678359"/>
                <a:gd name="connsiteX27" fmla="*/ 1970787 w 1977281"/>
                <a:gd name="connsiteY27" fmla="*/ 1404161 h 3678359"/>
                <a:gd name="connsiteX28" fmla="*/ 1968866 w 1977281"/>
                <a:gd name="connsiteY28" fmla="*/ 2993555 h 3678359"/>
                <a:gd name="connsiteX29" fmla="*/ 1959577 w 1977281"/>
                <a:gd name="connsiteY29" fmla="*/ 3165759 h 3678359"/>
                <a:gd name="connsiteX30" fmla="*/ 1952035 w 1977281"/>
                <a:gd name="connsiteY30" fmla="*/ 3256205 h 3678359"/>
                <a:gd name="connsiteX31" fmla="*/ 1938124 w 1977281"/>
                <a:gd name="connsiteY31" fmla="*/ 3307210 h 3678359"/>
                <a:gd name="connsiteX32" fmla="*/ 1916681 w 1977281"/>
                <a:gd name="connsiteY32" fmla="*/ 3373280 h 3678359"/>
                <a:gd name="connsiteX33" fmla="*/ 1876697 w 1977281"/>
                <a:gd name="connsiteY33" fmla="*/ 3444540 h 3678359"/>
                <a:gd name="connsiteX34" fmla="*/ 1808323 w 1977281"/>
                <a:gd name="connsiteY34" fmla="*/ 3531990 h 3678359"/>
                <a:gd name="connsiteX35" fmla="*/ 1693601 w 1977281"/>
                <a:gd name="connsiteY35" fmla="*/ 3613568 h 3678359"/>
                <a:gd name="connsiteX36" fmla="*/ 1657099 w 1977281"/>
                <a:gd name="connsiteY36" fmla="*/ 3634385 h 3678359"/>
                <a:gd name="connsiteX37" fmla="*/ 1642615 w 1977281"/>
                <a:gd name="connsiteY37" fmla="*/ 3637261 h 3678359"/>
                <a:gd name="connsiteX38" fmla="*/ 1391749 w 1977281"/>
                <a:gd name="connsiteY38" fmla="*/ 3678032 h 3678359"/>
                <a:gd name="connsiteX39" fmla="*/ 1169861 w 1977281"/>
                <a:gd name="connsiteY39" fmla="*/ 3637669 h 3678359"/>
                <a:gd name="connsiteX40" fmla="*/ 1053418 w 1977281"/>
                <a:gd name="connsiteY40" fmla="*/ 3574859 h 3678359"/>
                <a:gd name="connsiteX41" fmla="*/ 943351 w 1977281"/>
                <a:gd name="connsiteY41" fmla="*/ 3476107 h 3678359"/>
                <a:gd name="connsiteX42" fmla="*/ 916126 w 1977281"/>
                <a:gd name="connsiteY42" fmla="*/ 3437793 h 3678359"/>
                <a:gd name="connsiteX43" fmla="*/ 907436 w 1977281"/>
                <a:gd name="connsiteY43" fmla="*/ 3431981 h 3678359"/>
                <a:gd name="connsiteX44" fmla="*/ 893535 w 1977281"/>
                <a:gd name="connsiteY44" fmla="*/ 3407605 h 3678359"/>
                <a:gd name="connsiteX45" fmla="*/ 891218 w 1977281"/>
                <a:gd name="connsiteY45" fmla="*/ 3403542 h 3678359"/>
                <a:gd name="connsiteX46" fmla="*/ 881950 w 1977281"/>
                <a:gd name="connsiteY46" fmla="*/ 3387291 h 3678359"/>
                <a:gd name="connsiteX47" fmla="*/ 840827 w 1977281"/>
                <a:gd name="connsiteY47" fmla="*/ 3286910 h 3678359"/>
                <a:gd name="connsiteX48" fmla="*/ 811880 w 1977281"/>
                <a:gd name="connsiteY48" fmla="*/ 3104208 h 3678359"/>
                <a:gd name="connsiteX49" fmla="*/ 850721 w 1977281"/>
                <a:gd name="connsiteY49" fmla="*/ 2898999 h 3678359"/>
                <a:gd name="connsiteX50" fmla="*/ 983996 w 1977281"/>
                <a:gd name="connsiteY50" fmla="*/ 2699159 h 3678359"/>
                <a:gd name="connsiteX51" fmla="*/ 1100456 w 1977281"/>
                <a:gd name="connsiteY51" fmla="*/ 2611206 h 3678359"/>
                <a:gd name="connsiteX52" fmla="*/ 1229080 w 1977281"/>
                <a:gd name="connsiteY52" fmla="*/ 2554004 h 3678359"/>
                <a:gd name="connsiteX53" fmla="*/ 1394779 w 1977281"/>
                <a:gd name="connsiteY53" fmla="*/ 2524115 h 3678359"/>
                <a:gd name="connsiteX54" fmla="*/ 1517021 w 1977281"/>
                <a:gd name="connsiteY54" fmla="*/ 2540545 h 3678359"/>
                <a:gd name="connsiteX55" fmla="*/ 1647370 w 1977281"/>
                <a:gd name="connsiteY55" fmla="*/ 2590041 h 3678359"/>
                <a:gd name="connsiteX56" fmla="*/ 1721530 w 1977281"/>
                <a:gd name="connsiteY56" fmla="*/ 2569283 h 3678359"/>
                <a:gd name="connsiteX57" fmla="*/ 1696626 w 1977281"/>
                <a:gd name="connsiteY57" fmla="*/ 2497341 h 3678359"/>
                <a:gd name="connsiteX58" fmla="*/ 1542525 w 1977281"/>
                <a:gd name="connsiteY58" fmla="*/ 2434471 h 3678359"/>
                <a:gd name="connsiteX59" fmla="*/ 1393053 w 1977281"/>
                <a:gd name="connsiteY59" fmla="*/ 2417418 h 3678359"/>
                <a:gd name="connsiteX60" fmla="*/ 1196068 w 1977281"/>
                <a:gd name="connsiteY60" fmla="*/ 2448997 h 3678359"/>
                <a:gd name="connsiteX61" fmla="*/ 982274 w 1977281"/>
                <a:gd name="connsiteY61" fmla="*/ 2554771 h 3678359"/>
                <a:gd name="connsiteX62" fmla="*/ 902315 w 1977281"/>
                <a:gd name="connsiteY62" fmla="*/ 2621908 h 3678359"/>
                <a:gd name="connsiteX63" fmla="*/ 748179 w 1977281"/>
                <a:gd name="connsiteY63" fmla="*/ 2860565 h 3678359"/>
                <a:gd name="connsiteX64" fmla="*/ 702962 w 1977281"/>
                <a:gd name="connsiteY64" fmla="*/ 3101715 h 3678359"/>
                <a:gd name="connsiteX65" fmla="*/ 735960 w 1977281"/>
                <a:gd name="connsiteY65" fmla="*/ 3319795 h 3678359"/>
                <a:gd name="connsiteX66" fmla="*/ 756230 w 1977281"/>
                <a:gd name="connsiteY66" fmla="*/ 3383612 h 3678359"/>
                <a:gd name="connsiteX67" fmla="*/ 702932 w 1977281"/>
                <a:gd name="connsiteY67" fmla="*/ 3365552 h 3678359"/>
                <a:gd name="connsiteX68" fmla="*/ 591122 w 1977281"/>
                <a:gd name="connsiteY68" fmla="*/ 3310867 h 3678359"/>
                <a:gd name="connsiteX69" fmla="*/ 452670 w 1977281"/>
                <a:gd name="connsiteY69" fmla="*/ 3190616 h 3678359"/>
                <a:gd name="connsiteX70" fmla="*/ 347829 w 1977281"/>
                <a:gd name="connsiteY70" fmla="*/ 2997355 h 3678359"/>
                <a:gd name="connsiteX71" fmla="*/ 329297 w 1977281"/>
                <a:gd name="connsiteY71" fmla="*/ 2927163 h 3678359"/>
                <a:gd name="connsiteX72" fmla="*/ 326980 w 1977281"/>
                <a:gd name="connsiteY72" fmla="*/ 2923100 h 3678359"/>
                <a:gd name="connsiteX73" fmla="*/ 328719 w 1977281"/>
                <a:gd name="connsiteY73" fmla="*/ 2916724 h 3678359"/>
                <a:gd name="connsiteX74" fmla="*/ 328141 w 1977281"/>
                <a:gd name="connsiteY74" fmla="*/ 2906286 h 3678359"/>
                <a:gd name="connsiteX75" fmla="*/ 323507 w 1977281"/>
                <a:gd name="connsiteY75" fmla="*/ 2898161 h 3678359"/>
                <a:gd name="connsiteX76" fmla="*/ 317721 w 1977281"/>
                <a:gd name="connsiteY76" fmla="*/ 2831467 h 3678359"/>
                <a:gd name="connsiteX77" fmla="*/ 328158 w 1977281"/>
                <a:gd name="connsiteY77" fmla="*/ 2755522 h 3678359"/>
                <a:gd name="connsiteX78" fmla="*/ 361191 w 1977281"/>
                <a:gd name="connsiteY78" fmla="*/ 2672075 h 3678359"/>
                <a:gd name="connsiteX79" fmla="*/ 340343 w 1977281"/>
                <a:gd name="connsiteY79" fmla="*/ 2597820 h 3678359"/>
                <a:gd name="connsiteX80" fmla="*/ 266183 w 1977281"/>
                <a:gd name="connsiteY80" fmla="*/ 2618577 h 3678359"/>
                <a:gd name="connsiteX81" fmla="*/ 222139 w 1977281"/>
                <a:gd name="connsiteY81" fmla="*/ 2729840 h 3678359"/>
                <a:gd name="connsiteX82" fmla="*/ 210546 w 1977281"/>
                <a:gd name="connsiteY82" fmla="*/ 2784908 h 3678359"/>
                <a:gd name="connsiteX83" fmla="*/ 198961 w 1977281"/>
                <a:gd name="connsiteY83" fmla="*/ 2764595 h 3678359"/>
                <a:gd name="connsiteX84" fmla="*/ 152622 w 1977281"/>
                <a:gd name="connsiteY84" fmla="*/ 2683340 h 3678359"/>
                <a:gd name="connsiteX85" fmla="*/ 112082 w 1977281"/>
                <a:gd name="connsiteY85" fmla="*/ 2555707 h 3678359"/>
                <a:gd name="connsiteX86" fmla="*/ 101666 w 1977281"/>
                <a:gd name="connsiteY86" fmla="*/ 2443197 h 3678359"/>
                <a:gd name="connsiteX87" fmla="*/ 192619 w 1977281"/>
                <a:gd name="connsiteY87" fmla="*/ 2499009 h 3678359"/>
                <a:gd name="connsiteX88" fmla="*/ 400023 w 1977281"/>
                <a:gd name="connsiteY88" fmla="*/ 2542248 h 3678359"/>
                <a:gd name="connsiteX89" fmla="*/ 603380 w 1977281"/>
                <a:gd name="connsiteY89" fmla="*/ 2512419 h 3678359"/>
                <a:gd name="connsiteX90" fmla="*/ 848460 w 1977281"/>
                <a:gd name="connsiteY90" fmla="*/ 2404954 h 3678359"/>
                <a:gd name="connsiteX91" fmla="*/ 854255 w 1977281"/>
                <a:gd name="connsiteY91" fmla="*/ 2396266 h 3678359"/>
                <a:gd name="connsiteX92" fmla="*/ 902915 w 1977281"/>
                <a:gd name="connsiteY92" fmla="*/ 2443892 h 3678359"/>
                <a:gd name="connsiteX93" fmla="*/ 933040 w 1977281"/>
                <a:gd name="connsiteY93" fmla="*/ 2459016 h 3678359"/>
                <a:gd name="connsiteX94" fmla="*/ 978231 w 1977281"/>
                <a:gd name="connsiteY94" fmla="*/ 2444011 h 3678359"/>
                <a:gd name="connsiteX95" fmla="*/ 967229 w 1977281"/>
                <a:gd name="connsiteY95" fmla="*/ 2396445 h 3678359"/>
                <a:gd name="connsiteX96" fmla="*/ 949850 w 1977281"/>
                <a:gd name="connsiteY96" fmla="*/ 2384820 h 3678359"/>
                <a:gd name="connsiteX97" fmla="*/ 896555 w 1977281"/>
                <a:gd name="connsiteY97" fmla="*/ 2329069 h 3678359"/>
                <a:gd name="connsiteX98" fmla="*/ 877442 w 1977281"/>
                <a:gd name="connsiteY98" fmla="*/ 2286129 h 3678359"/>
                <a:gd name="connsiteX99" fmla="*/ 868178 w 1977281"/>
                <a:gd name="connsiteY99" fmla="*/ 2232187 h 3678359"/>
                <a:gd name="connsiteX100" fmla="*/ 870499 w 1977281"/>
                <a:gd name="connsiteY100" fmla="*/ 2198559 h 3678359"/>
                <a:gd name="connsiteX101" fmla="*/ 840957 w 1977281"/>
                <a:gd name="connsiteY101" fmla="*/ 2156182 h 3678359"/>
                <a:gd name="connsiteX102" fmla="*/ 798661 w 1977281"/>
                <a:gd name="connsiteY102" fmla="*/ 2185688 h 3678359"/>
                <a:gd name="connsiteX103" fmla="*/ 792862 w 1977281"/>
                <a:gd name="connsiteY103" fmla="*/ 2232068 h 3678359"/>
                <a:gd name="connsiteX104" fmla="*/ 807337 w 1977281"/>
                <a:gd name="connsiteY104" fmla="*/ 2304573 h 3678359"/>
                <a:gd name="connsiteX105" fmla="*/ 792853 w 1977281"/>
                <a:gd name="connsiteY105" fmla="*/ 2307449 h 3678359"/>
                <a:gd name="connsiteX106" fmla="*/ 570369 w 1977281"/>
                <a:gd name="connsiteY106" fmla="*/ 2407411 h 3678359"/>
                <a:gd name="connsiteX107" fmla="*/ 398297 w 1977281"/>
                <a:gd name="connsiteY107" fmla="*/ 2435551 h 3678359"/>
                <a:gd name="connsiteX108" fmla="*/ 252303 w 1977281"/>
                <a:gd name="connsiteY108" fmla="*/ 2405746 h 3678359"/>
                <a:gd name="connsiteX109" fmla="*/ 174674 w 1977281"/>
                <a:gd name="connsiteY109" fmla="*/ 2363872 h 3678359"/>
                <a:gd name="connsiteX110" fmla="*/ 104001 w 1977281"/>
                <a:gd name="connsiteY110" fmla="*/ 2296496 h 3678359"/>
                <a:gd name="connsiteX111" fmla="*/ 90099 w 1977281"/>
                <a:gd name="connsiteY111" fmla="*/ 2272120 h 3678359"/>
                <a:gd name="connsiteX112" fmla="*/ 87782 w 1977281"/>
                <a:gd name="connsiteY112" fmla="*/ 2268057 h 3678359"/>
                <a:gd name="connsiteX113" fmla="*/ 85465 w 1977281"/>
                <a:gd name="connsiteY113" fmla="*/ 2263995 h 3678359"/>
                <a:gd name="connsiteX114" fmla="*/ 72141 w 1977281"/>
                <a:gd name="connsiteY114" fmla="*/ 2250057 h 3678359"/>
                <a:gd name="connsiteX115" fmla="*/ 22329 w 1977281"/>
                <a:gd name="connsiteY115" fmla="*/ 2143863 h 3678359"/>
                <a:gd name="connsiteX116" fmla="*/ 329 w 1977281"/>
                <a:gd name="connsiteY116" fmla="*/ 2011040 h 3678359"/>
                <a:gd name="connsiteX117" fmla="*/ 14826 w 1977281"/>
                <a:gd name="connsiteY117" fmla="*/ 1895091 h 3678359"/>
                <a:gd name="connsiteX118" fmla="*/ 79149 w 1977281"/>
                <a:gd name="connsiteY118" fmla="*/ 1772263 h 3678359"/>
                <a:gd name="connsiteX119" fmla="*/ 102327 w 1977281"/>
                <a:gd name="connsiteY119" fmla="*/ 1737508 h 3678359"/>
                <a:gd name="connsiteX120" fmla="*/ 108121 w 1977281"/>
                <a:gd name="connsiteY120" fmla="*/ 1728820 h 3678359"/>
                <a:gd name="connsiteX121" fmla="*/ 112177 w 1977281"/>
                <a:gd name="connsiteY121" fmla="*/ 1726507 h 3678359"/>
                <a:gd name="connsiteX122" fmla="*/ 135933 w 1977281"/>
                <a:gd name="connsiteY122" fmla="*/ 1702190 h 3678359"/>
                <a:gd name="connsiteX123" fmla="*/ 121454 w 1977281"/>
                <a:gd name="connsiteY123" fmla="*/ 1667376 h 3678359"/>
                <a:gd name="connsiteX124" fmla="*/ 90185 w 1977281"/>
                <a:gd name="connsiteY124" fmla="*/ 1518302 h 3678359"/>
                <a:gd name="connsiteX125" fmla="*/ 119749 w 1977281"/>
                <a:gd name="connsiteY125" fmla="*/ 1372224 h 3678359"/>
                <a:gd name="connsiteX126" fmla="*/ 171322 w 1977281"/>
                <a:gd name="connsiteY126" fmla="*/ 1283587 h 3678359"/>
                <a:gd name="connsiteX127" fmla="*/ 228107 w 1977281"/>
                <a:gd name="connsiteY127" fmla="*/ 1213515 h 3678359"/>
                <a:gd name="connsiteX128" fmla="*/ 267495 w 1977281"/>
                <a:gd name="connsiteY128" fmla="*/ 1282581 h 3678359"/>
                <a:gd name="connsiteX129" fmla="*/ 334691 w 1977281"/>
                <a:gd name="connsiteY129" fmla="*/ 1362708 h 3678359"/>
                <a:gd name="connsiteX130" fmla="*/ 499217 w 1977281"/>
                <a:gd name="connsiteY130" fmla="*/ 1462706 h 3678359"/>
                <a:gd name="connsiteX131" fmla="*/ 744279 w 1977281"/>
                <a:gd name="connsiteY131" fmla="*/ 1506005 h 3678359"/>
                <a:gd name="connsiteX132" fmla="*/ 966755 w 1977281"/>
                <a:gd name="connsiteY132" fmla="*/ 1481425 h 3678359"/>
                <a:gd name="connsiteX133" fmla="*/ 969072 w 1977281"/>
                <a:gd name="connsiteY133" fmla="*/ 1485488 h 3678359"/>
                <a:gd name="connsiteX134" fmla="*/ 1095361 w 1977281"/>
                <a:gd name="connsiteY134" fmla="*/ 1574987 h 3678359"/>
                <a:gd name="connsiteX135" fmla="*/ 1284225 w 1977281"/>
                <a:gd name="connsiteY135" fmla="*/ 1623416 h 3678359"/>
                <a:gd name="connsiteX136" fmla="*/ 1344483 w 1977281"/>
                <a:gd name="connsiteY136" fmla="*/ 1578283 h 3678359"/>
                <a:gd name="connsiteX137" fmla="*/ 1299301 w 1977281"/>
                <a:gd name="connsiteY137" fmla="*/ 1517905 h 3678359"/>
                <a:gd name="connsiteX138" fmla="*/ 1118548 w 1977281"/>
                <a:gd name="connsiteY138" fmla="*/ 1464851 h 3678359"/>
                <a:gd name="connsiteX139" fmla="*/ 1039763 w 1977281"/>
                <a:gd name="connsiteY139" fmla="*/ 1402100 h 3678359"/>
                <a:gd name="connsiteX140" fmla="*/ 1005587 w 1977281"/>
                <a:gd name="connsiteY140" fmla="*/ 1351598 h 3678359"/>
                <a:gd name="connsiteX141" fmla="*/ 973732 w 1977281"/>
                <a:gd name="connsiteY141" fmla="*/ 1267468 h 3678359"/>
                <a:gd name="connsiteX142" fmla="*/ 967367 w 1977281"/>
                <a:gd name="connsiteY142" fmla="*/ 1190336 h 3678359"/>
                <a:gd name="connsiteX143" fmla="*/ 972010 w 1977281"/>
                <a:gd name="connsiteY143" fmla="*/ 1123080 h 3678359"/>
                <a:gd name="connsiteX144" fmla="*/ 977226 w 1977281"/>
                <a:gd name="connsiteY144" fmla="*/ 1103953 h 3678359"/>
                <a:gd name="connsiteX145" fmla="*/ 974910 w 1977281"/>
                <a:gd name="connsiteY145" fmla="*/ 1099890 h 3678359"/>
                <a:gd name="connsiteX146" fmla="*/ 978965 w 1977281"/>
                <a:gd name="connsiteY146" fmla="*/ 1097577 h 3678359"/>
                <a:gd name="connsiteX147" fmla="*/ 980704 w 1977281"/>
                <a:gd name="connsiteY147" fmla="*/ 1091201 h 3678359"/>
                <a:gd name="connsiteX148" fmla="*/ 1050808 w 1977281"/>
                <a:gd name="connsiteY148" fmla="*/ 1072757 h 3678359"/>
                <a:gd name="connsiteX149" fmla="*/ 1096000 w 1977281"/>
                <a:gd name="connsiteY149" fmla="*/ 1057753 h 3678359"/>
                <a:gd name="connsiteX150" fmla="*/ 1109910 w 1977281"/>
                <a:gd name="connsiteY150" fmla="*/ 1006747 h 3678359"/>
                <a:gd name="connsiteX151" fmla="*/ 1062984 w 1977281"/>
                <a:gd name="connsiteY151" fmla="*/ 990436 h 3678359"/>
                <a:gd name="connsiteX152" fmla="*/ 1028221 w 1977281"/>
                <a:gd name="connsiteY152" fmla="*/ 1004878 h 3678359"/>
                <a:gd name="connsiteX153" fmla="*/ 945372 w 1977281"/>
                <a:gd name="connsiteY153" fmla="*/ 1019822 h 3678359"/>
                <a:gd name="connsiteX154" fmla="*/ 883961 w 1977281"/>
                <a:gd name="connsiteY154" fmla="*/ 1006388 h 3678359"/>
                <a:gd name="connsiteX155" fmla="*/ 823134 w 1977281"/>
                <a:gd name="connsiteY155" fmla="*/ 965701 h 3678359"/>
                <a:gd name="connsiteX156" fmla="*/ 772730 w 1977281"/>
                <a:gd name="connsiteY156" fmla="*/ 962142 h 3678359"/>
                <a:gd name="connsiteX157" fmla="*/ 771565 w 1977281"/>
                <a:gd name="connsiteY157" fmla="*/ 1016647 h 3678359"/>
                <a:gd name="connsiteX158" fmla="*/ 858462 w 1977281"/>
                <a:gd name="connsiteY158" fmla="*/ 1074771 h 3678359"/>
                <a:gd name="connsiteX159" fmla="*/ 867152 w 1977281"/>
                <a:gd name="connsiteY159" fmla="*/ 1080583 h 3678359"/>
                <a:gd name="connsiteX160" fmla="*/ 864252 w 1977281"/>
                <a:gd name="connsiteY160" fmla="*/ 1103773 h 3678359"/>
                <a:gd name="connsiteX161" fmla="*/ 858449 w 1977281"/>
                <a:gd name="connsiteY161" fmla="*/ 1187843 h 3678359"/>
                <a:gd name="connsiteX162" fmla="*/ 869443 w 1977281"/>
                <a:gd name="connsiteY162" fmla="*/ 1310791 h 3678359"/>
                <a:gd name="connsiteX163" fmla="*/ 900719 w 1977281"/>
                <a:gd name="connsiteY163" fmla="*/ 1384483 h 3678359"/>
                <a:gd name="connsiteX164" fmla="*/ 746609 w 1977281"/>
                <a:gd name="connsiteY164" fmla="*/ 1396995 h 3678359"/>
                <a:gd name="connsiteX165" fmla="*/ 609883 w 1977281"/>
                <a:gd name="connsiteY165" fmla="*/ 1383441 h 3678359"/>
                <a:gd name="connsiteX166" fmla="*/ 447092 w 1977281"/>
                <a:gd name="connsiteY166" fmla="*/ 1314759 h 3678359"/>
                <a:gd name="connsiteX167" fmla="*/ 376418 w 1977281"/>
                <a:gd name="connsiteY167" fmla="*/ 1247382 h 3678359"/>
                <a:gd name="connsiteX168" fmla="*/ 320811 w 1977281"/>
                <a:gd name="connsiteY168" fmla="*/ 1149877 h 3678359"/>
                <a:gd name="connsiteX169" fmla="*/ 308648 w 1977281"/>
                <a:gd name="connsiteY169" fmla="*/ 1119126 h 3678359"/>
                <a:gd name="connsiteX170" fmla="*/ 308070 w 1977281"/>
                <a:gd name="connsiteY170" fmla="*/ 1108687 h 3678359"/>
                <a:gd name="connsiteX171" fmla="*/ 297655 w 1977281"/>
                <a:gd name="connsiteY171" fmla="*/ 996178 h 3678359"/>
                <a:gd name="connsiteX172" fmla="*/ 312730 w 1977281"/>
                <a:gd name="connsiteY172" fmla="*/ 890667 h 3678359"/>
                <a:gd name="connsiteX173" fmla="*/ 344024 w 1977281"/>
                <a:gd name="connsiteY173" fmla="*/ 813595 h 3678359"/>
                <a:gd name="connsiteX174" fmla="*/ 424565 w 1977281"/>
                <a:gd name="connsiteY174" fmla="*/ 719206 h 3678359"/>
                <a:gd name="connsiteX175" fmla="*/ 496991 w 1977281"/>
                <a:gd name="connsiteY175" fmla="*/ 667134 h 3678359"/>
                <a:gd name="connsiteX176" fmla="*/ 594907 w 1977281"/>
                <a:gd name="connsiteY176" fmla="*/ 622061 h 3678359"/>
                <a:gd name="connsiteX177" fmla="*/ 623876 w 1977281"/>
                <a:gd name="connsiteY177" fmla="*/ 616308 h 3678359"/>
                <a:gd name="connsiteX178" fmla="*/ 631987 w 1977281"/>
                <a:gd name="connsiteY178" fmla="*/ 611682 h 3678359"/>
                <a:gd name="connsiteX179" fmla="*/ 660955 w 1977281"/>
                <a:gd name="connsiteY179" fmla="*/ 605930 h 3678359"/>
                <a:gd name="connsiteX180" fmla="*/ 671966 w 1977281"/>
                <a:gd name="connsiteY180" fmla="*/ 578114 h 3678359"/>
                <a:gd name="connsiteX181" fmla="*/ 721222 w 1977281"/>
                <a:gd name="connsiteY181" fmla="*/ 485414 h 3678359"/>
                <a:gd name="connsiteX182" fmla="*/ 840582 w 1977281"/>
                <a:gd name="connsiteY182" fmla="*/ 374271 h 3678359"/>
                <a:gd name="connsiteX183" fmla="*/ 944293 w 1977281"/>
                <a:gd name="connsiteY183" fmla="*/ 320509 h 3678359"/>
                <a:gd name="connsiteX184" fmla="*/ 1092613 w 1977281"/>
                <a:gd name="connsiteY184" fmla="*/ 278995 h 3678359"/>
                <a:gd name="connsiteX185" fmla="*/ 1171985 w 1977281"/>
                <a:gd name="connsiteY185" fmla="*/ 276802 h 3678359"/>
                <a:gd name="connsiteX186" fmla="*/ 1163865 w 1977281"/>
                <a:gd name="connsiteY186" fmla="*/ 356810 h 3678359"/>
                <a:gd name="connsiteX187" fmla="*/ 1173702 w 1977281"/>
                <a:gd name="connsiteY187" fmla="*/ 458881 h 3678359"/>
                <a:gd name="connsiteX188" fmla="*/ 1213664 w 1977281"/>
                <a:gd name="connsiteY188" fmla="*/ 576076 h 3678359"/>
                <a:gd name="connsiteX189" fmla="*/ 1268693 w 1977281"/>
                <a:gd name="connsiteY189" fmla="*/ 663143 h 3678359"/>
                <a:gd name="connsiteX190" fmla="*/ 1406567 w 1977281"/>
                <a:gd name="connsiteY190" fmla="*/ 772955 h 3678359"/>
                <a:gd name="connsiteX191" fmla="*/ 1606438 w 1977281"/>
                <a:gd name="connsiteY191" fmla="*/ 831259 h 3678359"/>
                <a:gd name="connsiteX192" fmla="*/ 1623239 w 1977281"/>
                <a:gd name="connsiteY192" fmla="*/ 832446 h 3678359"/>
                <a:gd name="connsiteX193" fmla="*/ 1649882 w 1977281"/>
                <a:gd name="connsiteY193" fmla="*/ 898012 h 3678359"/>
                <a:gd name="connsiteX194" fmla="*/ 1670157 w 1977281"/>
                <a:gd name="connsiteY194" fmla="*/ 924138 h 3678359"/>
                <a:gd name="connsiteX195" fmla="*/ 1718821 w 1977281"/>
                <a:gd name="connsiteY195" fmla="*/ 934073 h 3678359"/>
                <a:gd name="connsiteX196" fmla="*/ 1726359 w 1977281"/>
                <a:gd name="connsiteY196" fmla="*/ 881318 h 3678359"/>
                <a:gd name="connsiteX197" fmla="*/ 1705506 w 1977281"/>
                <a:gd name="connsiteY197" fmla="*/ 844753 h 3678359"/>
                <a:gd name="connsiteX198" fmla="*/ 1688710 w 1977281"/>
                <a:gd name="connsiteY198" fmla="*/ 805876 h 3678359"/>
                <a:gd name="connsiteX199" fmla="*/ 1681763 w 1977281"/>
                <a:gd name="connsiteY199" fmla="*/ 755997 h 3678359"/>
                <a:gd name="connsiteX200" fmla="*/ 1689879 w 1977281"/>
                <a:gd name="connsiteY200" fmla="*/ 713680 h 3678359"/>
                <a:gd name="connsiteX201" fmla="*/ 1712479 w 1977281"/>
                <a:gd name="connsiteY201" fmla="*/ 668487 h 3678359"/>
                <a:gd name="connsiteX202" fmla="*/ 1705532 w 1977281"/>
                <a:gd name="connsiteY202" fmla="*/ 618608 h 3678359"/>
                <a:gd name="connsiteX203" fmla="*/ 1655707 w 1977281"/>
                <a:gd name="connsiteY203" fmla="*/ 625487 h 3678359"/>
                <a:gd name="connsiteX204" fmla="*/ 1623835 w 1977281"/>
                <a:gd name="connsiteY204" fmla="*/ 692120 h 3678359"/>
                <a:gd name="connsiteX205" fmla="*/ 1615141 w 1977281"/>
                <a:gd name="connsiteY205" fmla="*/ 723999 h 3678359"/>
                <a:gd name="connsiteX206" fmla="*/ 1472624 w 1977281"/>
                <a:gd name="connsiteY206" fmla="*/ 681443 h 3678359"/>
                <a:gd name="connsiteX207" fmla="*/ 1390361 w 1977281"/>
                <a:gd name="connsiteY207" fmla="*/ 631444 h 3678359"/>
                <a:gd name="connsiteX208" fmla="*/ 1316214 w 1977281"/>
                <a:gd name="connsiteY208" fmla="*/ 539128 h 3678359"/>
                <a:gd name="connsiteX209" fmla="*/ 1281464 w 1977281"/>
                <a:gd name="connsiteY209" fmla="*/ 440497 h 3678359"/>
                <a:gd name="connsiteX210" fmla="*/ 1272783 w 1977281"/>
                <a:gd name="connsiteY210" fmla="*/ 359302 h 3678359"/>
                <a:gd name="connsiteX211" fmla="*/ 1282642 w 1977281"/>
                <a:gd name="connsiteY211" fmla="*/ 272919 h 3678359"/>
                <a:gd name="connsiteX212" fmla="*/ 1289598 w 1977281"/>
                <a:gd name="connsiteY212" fmla="*/ 247416 h 3678359"/>
                <a:gd name="connsiteX213" fmla="*/ 1291336 w 1977281"/>
                <a:gd name="connsiteY213" fmla="*/ 241040 h 3678359"/>
                <a:gd name="connsiteX214" fmla="*/ 1346387 w 1977281"/>
                <a:gd name="connsiteY214" fmla="*/ 139652 h 3678359"/>
                <a:gd name="connsiteX215" fmla="*/ 1470381 w 1977281"/>
                <a:gd name="connsiteY215" fmla="*/ 36634 h 3678359"/>
                <a:gd name="connsiteX216" fmla="*/ 1637819 w 1977281"/>
                <a:gd name="connsiteY216" fmla="*/ 369 h 3678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</a:cxnLst>
              <a:rect l="l" t="t" r="r" b="b"/>
              <a:pathLst>
                <a:path w="1977281" h="3678359">
                  <a:moveTo>
                    <a:pt x="1637819" y="369"/>
                  </a:moveTo>
                  <a:cubicBezTo>
                    <a:pt x="1679533" y="-1884"/>
                    <a:pt x="1721825" y="6302"/>
                    <a:pt x="1768750" y="22612"/>
                  </a:cubicBezTo>
                  <a:cubicBezTo>
                    <a:pt x="1794241" y="29611"/>
                    <a:pt x="1817993" y="42986"/>
                    <a:pt x="1835373" y="54611"/>
                  </a:cubicBezTo>
                  <a:cubicBezTo>
                    <a:pt x="1870131" y="77860"/>
                    <a:pt x="1894462" y="101673"/>
                    <a:pt x="1917053" y="131862"/>
                  </a:cubicBezTo>
                  <a:cubicBezTo>
                    <a:pt x="1928638" y="152175"/>
                    <a:pt x="1942540" y="176552"/>
                    <a:pt x="1950069" y="199178"/>
                  </a:cubicBezTo>
                  <a:cubicBezTo>
                    <a:pt x="1964548" y="233993"/>
                    <a:pt x="1972656" y="267058"/>
                    <a:pt x="1972073" y="294310"/>
                  </a:cubicBezTo>
                  <a:cubicBezTo>
                    <a:pt x="1977863" y="323312"/>
                    <a:pt x="1976703" y="340127"/>
                    <a:pt x="1977281" y="350565"/>
                  </a:cubicBezTo>
                  <a:cubicBezTo>
                    <a:pt x="1977281" y="350565"/>
                    <a:pt x="1977281" y="350565"/>
                    <a:pt x="1976042" y="1045816"/>
                  </a:cubicBezTo>
                  <a:cubicBezTo>
                    <a:pt x="1974303" y="1052191"/>
                    <a:pt x="1970248" y="1054504"/>
                    <a:pt x="1968509" y="1060880"/>
                  </a:cubicBezTo>
                  <a:cubicBezTo>
                    <a:pt x="1970826" y="1064943"/>
                    <a:pt x="1965027" y="1111322"/>
                    <a:pt x="1944161" y="1187831"/>
                  </a:cubicBezTo>
                  <a:cubicBezTo>
                    <a:pt x="1926195" y="1241149"/>
                    <a:pt x="1900696" y="1309532"/>
                    <a:pt x="1863029" y="1384854"/>
                  </a:cubicBezTo>
                  <a:cubicBezTo>
                    <a:pt x="1830579" y="1441049"/>
                    <a:pt x="1794072" y="1499557"/>
                    <a:pt x="1748877" y="1552252"/>
                  </a:cubicBezTo>
                  <a:cubicBezTo>
                    <a:pt x="1678186" y="1635640"/>
                    <a:pt x="1588377" y="1713778"/>
                    <a:pt x="1468443" y="1776792"/>
                  </a:cubicBezTo>
                  <a:cubicBezTo>
                    <a:pt x="1350826" y="1843869"/>
                    <a:pt x="1200767" y="1891758"/>
                    <a:pt x="1015372" y="1905960"/>
                  </a:cubicBezTo>
                  <a:cubicBezTo>
                    <a:pt x="1008999" y="1904211"/>
                    <a:pt x="952801" y="1909340"/>
                    <a:pt x="873429" y="1911533"/>
                  </a:cubicBezTo>
                  <a:cubicBezTo>
                    <a:pt x="802169" y="1909100"/>
                    <a:pt x="707734" y="1903731"/>
                    <a:pt x="615039" y="1891987"/>
                  </a:cubicBezTo>
                  <a:cubicBezTo>
                    <a:pt x="566952" y="1892490"/>
                    <a:pt x="518287" y="1882555"/>
                    <a:pt x="475995" y="1874370"/>
                  </a:cubicBezTo>
                  <a:cubicBezTo>
                    <a:pt x="433703" y="1866184"/>
                    <a:pt x="389094" y="1853936"/>
                    <a:pt x="354914" y="1841125"/>
                  </a:cubicBezTo>
                  <a:cubicBezTo>
                    <a:pt x="327106" y="1830064"/>
                    <a:pt x="292343" y="1844505"/>
                    <a:pt x="281332" y="1872321"/>
                  </a:cubicBezTo>
                  <a:cubicBezTo>
                    <a:pt x="274377" y="1897823"/>
                    <a:pt x="288857" y="1932638"/>
                    <a:pt x="316665" y="1943700"/>
                  </a:cubicBezTo>
                  <a:cubicBezTo>
                    <a:pt x="357218" y="1958261"/>
                    <a:pt x="405883" y="1968196"/>
                    <a:pt x="454547" y="1978131"/>
                  </a:cubicBezTo>
                  <a:cubicBezTo>
                    <a:pt x="528703" y="1995064"/>
                    <a:pt x="604597" y="2005623"/>
                    <a:pt x="675858" y="2008055"/>
                  </a:cubicBezTo>
                  <a:cubicBezTo>
                    <a:pt x="749435" y="2014551"/>
                    <a:pt x="816640" y="2019297"/>
                    <a:pt x="875155" y="2018230"/>
                  </a:cubicBezTo>
                  <a:cubicBezTo>
                    <a:pt x="960900" y="2017787"/>
                    <a:pt x="1023470" y="2014407"/>
                    <a:pt x="1023470" y="2014407"/>
                  </a:cubicBezTo>
                  <a:cubicBezTo>
                    <a:pt x="1142239" y="2005898"/>
                    <a:pt x="1247685" y="1983451"/>
                    <a:pt x="1342123" y="1951129"/>
                  </a:cubicBezTo>
                  <a:cubicBezTo>
                    <a:pt x="1508405" y="1893987"/>
                    <a:pt x="1639928" y="1813596"/>
                    <a:pt x="1737270" y="1720393"/>
                  </a:cubicBezTo>
                  <a:cubicBezTo>
                    <a:pt x="1814912" y="1649194"/>
                    <a:pt x="1875753" y="1576808"/>
                    <a:pt x="1919792" y="1503236"/>
                  </a:cubicBezTo>
                  <a:cubicBezTo>
                    <a:pt x="1938915" y="1470794"/>
                    <a:pt x="1958037" y="1438352"/>
                    <a:pt x="1970787" y="1404161"/>
                  </a:cubicBezTo>
                  <a:lnTo>
                    <a:pt x="1968866" y="2993555"/>
                  </a:lnTo>
                  <a:cubicBezTo>
                    <a:pt x="1966541" y="3064874"/>
                    <a:pt x="1965376" y="3119379"/>
                    <a:pt x="1959577" y="3165759"/>
                  </a:cubicBezTo>
                  <a:cubicBezTo>
                    <a:pt x="1959572" y="3203449"/>
                    <a:pt x="1954934" y="3233015"/>
                    <a:pt x="1952035" y="3256205"/>
                  </a:cubicBezTo>
                  <a:cubicBezTo>
                    <a:pt x="1946818" y="3275332"/>
                    <a:pt x="1945658" y="3292146"/>
                    <a:pt x="1938124" y="3307210"/>
                  </a:cubicBezTo>
                  <a:cubicBezTo>
                    <a:pt x="1931169" y="3332713"/>
                    <a:pt x="1925953" y="3351840"/>
                    <a:pt x="1916681" y="3373280"/>
                  </a:cubicBezTo>
                  <a:cubicBezTo>
                    <a:pt x="1907409" y="3394721"/>
                    <a:pt x="1894081" y="3418474"/>
                    <a:pt x="1876697" y="3444540"/>
                  </a:cubicBezTo>
                  <a:cubicBezTo>
                    <a:pt x="1857574" y="3476982"/>
                    <a:pt x="1836135" y="3505360"/>
                    <a:pt x="1808323" y="3531990"/>
                  </a:cubicBezTo>
                  <a:cubicBezTo>
                    <a:pt x="1770660" y="3569621"/>
                    <a:pt x="1726047" y="3595064"/>
                    <a:pt x="1693601" y="3613568"/>
                  </a:cubicBezTo>
                  <a:cubicBezTo>
                    <a:pt x="1677378" y="3622820"/>
                    <a:pt x="1665211" y="3629759"/>
                    <a:pt x="1657099" y="3634385"/>
                  </a:cubicBezTo>
                  <a:cubicBezTo>
                    <a:pt x="1648988" y="3639011"/>
                    <a:pt x="1646671" y="3634948"/>
                    <a:pt x="1642615" y="3637261"/>
                  </a:cubicBezTo>
                  <a:cubicBezTo>
                    <a:pt x="1548176" y="3669583"/>
                    <a:pt x="1463010" y="3680465"/>
                    <a:pt x="1391749" y="3678032"/>
                  </a:cubicBezTo>
                  <a:cubicBezTo>
                    <a:pt x="1306005" y="3678476"/>
                    <a:pt x="1231849" y="3661542"/>
                    <a:pt x="1169861" y="3637669"/>
                  </a:cubicBezTo>
                  <a:cubicBezTo>
                    <a:pt x="1126991" y="3619045"/>
                    <a:pt x="1088176" y="3598108"/>
                    <a:pt x="1053418" y="3574859"/>
                  </a:cubicBezTo>
                  <a:cubicBezTo>
                    <a:pt x="1001280" y="3539984"/>
                    <a:pt x="963626" y="3502233"/>
                    <a:pt x="943351" y="3476107"/>
                  </a:cubicBezTo>
                  <a:cubicBezTo>
                    <a:pt x="930028" y="3462169"/>
                    <a:pt x="923077" y="3449981"/>
                    <a:pt x="916126" y="3437793"/>
                  </a:cubicBezTo>
                  <a:cubicBezTo>
                    <a:pt x="913809" y="3433731"/>
                    <a:pt x="909753" y="3436044"/>
                    <a:pt x="907436" y="3431981"/>
                  </a:cubicBezTo>
                  <a:cubicBezTo>
                    <a:pt x="907436" y="3431981"/>
                    <a:pt x="907436" y="3431981"/>
                    <a:pt x="893535" y="3407605"/>
                  </a:cubicBezTo>
                  <a:cubicBezTo>
                    <a:pt x="893535" y="3407605"/>
                    <a:pt x="893535" y="3407605"/>
                    <a:pt x="891218" y="3403542"/>
                  </a:cubicBezTo>
                  <a:cubicBezTo>
                    <a:pt x="888901" y="3399479"/>
                    <a:pt x="884267" y="3391354"/>
                    <a:pt x="881950" y="3387291"/>
                  </a:cubicBezTo>
                  <a:cubicBezTo>
                    <a:pt x="868048" y="3362915"/>
                    <a:pt x="849512" y="3330413"/>
                    <a:pt x="840827" y="3286910"/>
                  </a:cubicBezTo>
                  <a:cubicBezTo>
                    <a:pt x="823452" y="3237594"/>
                    <a:pt x="813610" y="3173214"/>
                    <a:pt x="811880" y="3104208"/>
                  </a:cubicBezTo>
                  <a:cubicBezTo>
                    <a:pt x="812467" y="3039264"/>
                    <a:pt x="825221" y="2967382"/>
                    <a:pt x="850721" y="2898999"/>
                  </a:cubicBezTo>
                  <a:cubicBezTo>
                    <a:pt x="876220" y="2830616"/>
                    <a:pt x="918521" y="2763419"/>
                    <a:pt x="983996" y="2699159"/>
                  </a:cubicBezTo>
                  <a:cubicBezTo>
                    <a:pt x="983996" y="2699159"/>
                    <a:pt x="1027453" y="2652839"/>
                    <a:pt x="1100456" y="2611206"/>
                  </a:cubicBezTo>
                  <a:cubicBezTo>
                    <a:pt x="1136958" y="2590389"/>
                    <a:pt x="1181571" y="2564946"/>
                    <a:pt x="1229080" y="2554004"/>
                  </a:cubicBezTo>
                  <a:cubicBezTo>
                    <a:pt x="1278327" y="2536686"/>
                    <a:pt x="1336264" y="2525181"/>
                    <a:pt x="1394779" y="2524115"/>
                  </a:cubicBezTo>
                  <a:cubicBezTo>
                    <a:pt x="1432437" y="2524175"/>
                    <a:pt x="1472412" y="2528297"/>
                    <a:pt x="1517021" y="2540545"/>
                  </a:cubicBezTo>
                  <a:cubicBezTo>
                    <a:pt x="1555257" y="2551044"/>
                    <a:pt x="1602183" y="2567354"/>
                    <a:pt x="1647370" y="2590041"/>
                  </a:cubicBezTo>
                  <a:cubicBezTo>
                    <a:pt x="1673439" y="2607478"/>
                    <a:pt x="1704146" y="2595350"/>
                    <a:pt x="1721530" y="2569283"/>
                  </a:cubicBezTo>
                  <a:cubicBezTo>
                    <a:pt x="1734858" y="2545530"/>
                    <a:pt x="1724434" y="2508403"/>
                    <a:pt x="1696626" y="2497341"/>
                  </a:cubicBezTo>
                  <a:cubicBezTo>
                    <a:pt x="1642749" y="2468842"/>
                    <a:pt x="1593506" y="2448469"/>
                    <a:pt x="1542525" y="2434471"/>
                  </a:cubicBezTo>
                  <a:cubicBezTo>
                    <a:pt x="1491543" y="2420474"/>
                    <a:pt x="1441140" y="2416914"/>
                    <a:pt x="1393053" y="2417418"/>
                  </a:cubicBezTo>
                  <a:cubicBezTo>
                    <a:pt x="1321793" y="2414985"/>
                    <a:pt x="1253427" y="2427053"/>
                    <a:pt x="1196068" y="2448997"/>
                  </a:cubicBezTo>
                  <a:cubicBezTo>
                    <a:pt x="1105685" y="2479006"/>
                    <a:pt x="1032682" y="2520640"/>
                    <a:pt x="982274" y="2554771"/>
                  </a:cubicBezTo>
                  <a:cubicBezTo>
                    <a:pt x="938239" y="2590652"/>
                    <a:pt x="910427" y="2617282"/>
                    <a:pt x="902315" y="2621908"/>
                  </a:cubicBezTo>
                  <a:cubicBezTo>
                    <a:pt x="826990" y="2697170"/>
                    <a:pt x="777156" y="2779431"/>
                    <a:pt x="748179" y="2860565"/>
                  </a:cubicBezTo>
                  <a:cubicBezTo>
                    <a:pt x="715146" y="2944013"/>
                    <a:pt x="702970" y="3026333"/>
                    <a:pt x="702962" y="3101715"/>
                  </a:cubicBezTo>
                  <a:cubicBezTo>
                    <a:pt x="705270" y="3181160"/>
                    <a:pt x="718007" y="3260041"/>
                    <a:pt x="735960" y="3319795"/>
                  </a:cubicBezTo>
                  <a:cubicBezTo>
                    <a:pt x="743489" y="3342422"/>
                    <a:pt x="751018" y="3365048"/>
                    <a:pt x="756230" y="3383612"/>
                  </a:cubicBezTo>
                  <a:cubicBezTo>
                    <a:pt x="737112" y="3378363"/>
                    <a:pt x="717994" y="3373114"/>
                    <a:pt x="702932" y="3365552"/>
                  </a:cubicBezTo>
                  <a:cubicBezTo>
                    <a:pt x="658323" y="3353304"/>
                    <a:pt x="621825" y="3336429"/>
                    <a:pt x="591122" y="3310867"/>
                  </a:cubicBezTo>
                  <a:cubicBezTo>
                    <a:pt x="534928" y="3278305"/>
                    <a:pt x="488585" y="3234742"/>
                    <a:pt x="452670" y="3190616"/>
                  </a:cubicBezTo>
                  <a:cubicBezTo>
                    <a:pt x="398798" y="3124426"/>
                    <a:pt x="367521" y="3050734"/>
                    <a:pt x="347829" y="2997355"/>
                  </a:cubicBezTo>
                  <a:cubicBezTo>
                    <a:pt x="337983" y="2970666"/>
                    <a:pt x="334510" y="2945727"/>
                    <a:pt x="329297" y="2927163"/>
                  </a:cubicBezTo>
                  <a:cubicBezTo>
                    <a:pt x="326980" y="2923100"/>
                    <a:pt x="326980" y="2923100"/>
                    <a:pt x="326980" y="2923100"/>
                  </a:cubicBezTo>
                  <a:cubicBezTo>
                    <a:pt x="331036" y="2920787"/>
                    <a:pt x="331036" y="2920787"/>
                    <a:pt x="328719" y="2916724"/>
                  </a:cubicBezTo>
                  <a:cubicBezTo>
                    <a:pt x="326402" y="2912662"/>
                    <a:pt x="326402" y="2912662"/>
                    <a:pt x="328141" y="2906286"/>
                  </a:cubicBezTo>
                  <a:cubicBezTo>
                    <a:pt x="325824" y="2902223"/>
                    <a:pt x="325824" y="2902223"/>
                    <a:pt x="323507" y="2898161"/>
                  </a:cubicBezTo>
                  <a:cubicBezTo>
                    <a:pt x="320612" y="2883659"/>
                    <a:pt x="317139" y="2858720"/>
                    <a:pt x="317721" y="2831467"/>
                  </a:cubicBezTo>
                  <a:cubicBezTo>
                    <a:pt x="320621" y="2808278"/>
                    <a:pt x="321203" y="2781025"/>
                    <a:pt x="328158" y="2755522"/>
                  </a:cubicBezTo>
                  <a:cubicBezTo>
                    <a:pt x="332797" y="2725957"/>
                    <a:pt x="343808" y="2698141"/>
                    <a:pt x="361191" y="2672075"/>
                  </a:cubicBezTo>
                  <a:cubicBezTo>
                    <a:pt x="374519" y="2648322"/>
                    <a:pt x="366412" y="2615257"/>
                    <a:pt x="340343" y="2597820"/>
                  </a:cubicBezTo>
                  <a:cubicBezTo>
                    <a:pt x="316591" y="2584445"/>
                    <a:pt x="283567" y="2592511"/>
                    <a:pt x="266183" y="2618577"/>
                  </a:cubicBezTo>
                  <a:cubicBezTo>
                    <a:pt x="243005" y="2653331"/>
                    <a:pt x="228516" y="2693899"/>
                    <a:pt x="222139" y="2729840"/>
                  </a:cubicBezTo>
                  <a:cubicBezTo>
                    <a:pt x="216923" y="2748967"/>
                    <a:pt x="215762" y="2765781"/>
                    <a:pt x="210546" y="2784908"/>
                  </a:cubicBezTo>
                  <a:cubicBezTo>
                    <a:pt x="205912" y="2776783"/>
                    <a:pt x="203595" y="2772720"/>
                    <a:pt x="198961" y="2764595"/>
                  </a:cubicBezTo>
                  <a:cubicBezTo>
                    <a:pt x="178687" y="2738469"/>
                    <a:pt x="162468" y="2710030"/>
                    <a:pt x="152622" y="2683340"/>
                  </a:cubicBezTo>
                  <a:cubicBezTo>
                    <a:pt x="133508" y="2640400"/>
                    <a:pt x="118450" y="2595147"/>
                    <a:pt x="112082" y="2555707"/>
                  </a:cubicBezTo>
                  <a:cubicBezTo>
                    <a:pt x="105713" y="2516266"/>
                    <a:pt x="103401" y="2474512"/>
                    <a:pt x="101666" y="2443197"/>
                  </a:cubicBezTo>
                  <a:cubicBezTo>
                    <a:pt x="130052" y="2464697"/>
                    <a:pt x="156121" y="2482134"/>
                    <a:pt x="192619" y="2499009"/>
                  </a:cubicBezTo>
                  <a:cubicBezTo>
                    <a:pt x="250551" y="2525194"/>
                    <a:pt x="318334" y="2540378"/>
                    <a:pt x="400023" y="2542248"/>
                  </a:cubicBezTo>
                  <a:cubicBezTo>
                    <a:pt x="458538" y="2541181"/>
                    <a:pt x="525165" y="2535489"/>
                    <a:pt x="603380" y="2512419"/>
                  </a:cubicBezTo>
                  <a:cubicBezTo>
                    <a:pt x="675223" y="2487599"/>
                    <a:pt x="759233" y="2455840"/>
                    <a:pt x="848460" y="2404954"/>
                  </a:cubicBezTo>
                  <a:cubicBezTo>
                    <a:pt x="852516" y="2402641"/>
                    <a:pt x="856572" y="2400328"/>
                    <a:pt x="854255" y="2396266"/>
                  </a:cubicBezTo>
                  <a:cubicBezTo>
                    <a:pt x="872212" y="2418329"/>
                    <a:pt x="889592" y="2429954"/>
                    <a:pt x="902915" y="2443892"/>
                  </a:cubicBezTo>
                  <a:cubicBezTo>
                    <a:pt x="917977" y="2451454"/>
                    <a:pt x="928984" y="2461329"/>
                    <a:pt x="933040" y="2459016"/>
                  </a:cubicBezTo>
                  <a:cubicBezTo>
                    <a:pt x="950419" y="2470641"/>
                    <a:pt x="973015" y="2463138"/>
                    <a:pt x="978231" y="2444011"/>
                  </a:cubicBezTo>
                  <a:cubicBezTo>
                    <a:pt x="989820" y="2426634"/>
                    <a:pt x="982291" y="2404008"/>
                    <a:pt x="967229" y="2396445"/>
                  </a:cubicBezTo>
                  <a:cubicBezTo>
                    <a:pt x="967229" y="2396445"/>
                    <a:pt x="958539" y="2390633"/>
                    <a:pt x="949850" y="2384820"/>
                  </a:cubicBezTo>
                  <a:cubicBezTo>
                    <a:pt x="932470" y="2373196"/>
                    <a:pt x="912774" y="2357508"/>
                    <a:pt x="896555" y="2329069"/>
                  </a:cubicBezTo>
                  <a:cubicBezTo>
                    <a:pt x="889604" y="2316881"/>
                    <a:pt x="880337" y="2300630"/>
                    <a:pt x="877442" y="2286129"/>
                  </a:cubicBezTo>
                  <a:cubicBezTo>
                    <a:pt x="868174" y="2269878"/>
                    <a:pt x="869334" y="2253064"/>
                    <a:pt x="868178" y="2232187"/>
                  </a:cubicBezTo>
                  <a:cubicBezTo>
                    <a:pt x="867600" y="2221749"/>
                    <a:pt x="867022" y="2211311"/>
                    <a:pt x="870499" y="2198559"/>
                  </a:cubicBezTo>
                  <a:cubicBezTo>
                    <a:pt x="875716" y="2179432"/>
                    <a:pt x="860075" y="2161432"/>
                    <a:pt x="840957" y="2156182"/>
                  </a:cubicBezTo>
                  <a:cubicBezTo>
                    <a:pt x="821839" y="2150933"/>
                    <a:pt x="803877" y="2166561"/>
                    <a:pt x="798661" y="2185688"/>
                  </a:cubicBezTo>
                  <a:cubicBezTo>
                    <a:pt x="797500" y="2202502"/>
                    <a:pt x="794022" y="2215253"/>
                    <a:pt x="792862" y="2232068"/>
                  </a:cubicBezTo>
                  <a:cubicBezTo>
                    <a:pt x="796335" y="2257007"/>
                    <a:pt x="799808" y="2281947"/>
                    <a:pt x="807337" y="2304573"/>
                  </a:cubicBezTo>
                  <a:cubicBezTo>
                    <a:pt x="803282" y="2306886"/>
                    <a:pt x="796909" y="2305136"/>
                    <a:pt x="792853" y="2307449"/>
                  </a:cubicBezTo>
                  <a:cubicBezTo>
                    <a:pt x="707682" y="2356022"/>
                    <a:pt x="634101" y="2387218"/>
                    <a:pt x="570369" y="2407411"/>
                  </a:cubicBezTo>
                  <a:cubicBezTo>
                    <a:pt x="506638" y="2427605"/>
                    <a:pt x="446384" y="2435048"/>
                    <a:pt x="398297" y="2435551"/>
                  </a:cubicBezTo>
                  <a:cubicBezTo>
                    <a:pt x="337465" y="2432555"/>
                    <a:pt x="292856" y="2420307"/>
                    <a:pt x="252303" y="2405746"/>
                  </a:cubicBezTo>
                  <a:cubicBezTo>
                    <a:pt x="224495" y="2394684"/>
                    <a:pt x="198426" y="2377247"/>
                    <a:pt x="174674" y="2363872"/>
                  </a:cubicBezTo>
                  <a:cubicBezTo>
                    <a:pt x="143971" y="2338310"/>
                    <a:pt x="119641" y="2314497"/>
                    <a:pt x="104001" y="2296496"/>
                  </a:cubicBezTo>
                  <a:cubicBezTo>
                    <a:pt x="97050" y="2284308"/>
                    <a:pt x="92416" y="2276183"/>
                    <a:pt x="90099" y="2272120"/>
                  </a:cubicBezTo>
                  <a:cubicBezTo>
                    <a:pt x="87782" y="2268057"/>
                    <a:pt x="87782" y="2268057"/>
                    <a:pt x="87782" y="2268057"/>
                  </a:cubicBezTo>
                  <a:cubicBezTo>
                    <a:pt x="87782" y="2268057"/>
                    <a:pt x="85465" y="2263995"/>
                    <a:pt x="85465" y="2263995"/>
                  </a:cubicBezTo>
                  <a:cubicBezTo>
                    <a:pt x="83148" y="2259932"/>
                    <a:pt x="78514" y="2251806"/>
                    <a:pt x="72141" y="2250057"/>
                  </a:cubicBezTo>
                  <a:cubicBezTo>
                    <a:pt x="48972" y="2209430"/>
                    <a:pt x="30436" y="2176928"/>
                    <a:pt x="22329" y="2143863"/>
                  </a:cubicBezTo>
                  <a:cubicBezTo>
                    <a:pt x="4954" y="2094547"/>
                    <a:pt x="-1414" y="2055107"/>
                    <a:pt x="329" y="2011040"/>
                  </a:cubicBezTo>
                  <a:cubicBezTo>
                    <a:pt x="-1984" y="1969287"/>
                    <a:pt x="8449" y="1931032"/>
                    <a:pt x="14826" y="1895091"/>
                  </a:cubicBezTo>
                  <a:cubicBezTo>
                    <a:pt x="32792" y="1841773"/>
                    <a:pt x="57709" y="1800642"/>
                    <a:pt x="79149" y="1772263"/>
                  </a:cubicBezTo>
                  <a:cubicBezTo>
                    <a:pt x="86682" y="1757199"/>
                    <a:pt x="96532" y="1746197"/>
                    <a:pt x="102327" y="1737508"/>
                  </a:cubicBezTo>
                  <a:cubicBezTo>
                    <a:pt x="106382" y="1735195"/>
                    <a:pt x="108121" y="1728820"/>
                    <a:pt x="108121" y="1728820"/>
                  </a:cubicBezTo>
                  <a:cubicBezTo>
                    <a:pt x="108121" y="1728820"/>
                    <a:pt x="108121" y="1728820"/>
                    <a:pt x="112177" y="1726507"/>
                  </a:cubicBezTo>
                  <a:cubicBezTo>
                    <a:pt x="112177" y="1726507"/>
                    <a:pt x="112177" y="1726507"/>
                    <a:pt x="135933" y="1702190"/>
                  </a:cubicBezTo>
                  <a:cubicBezTo>
                    <a:pt x="135933" y="1702190"/>
                    <a:pt x="135933" y="1702190"/>
                    <a:pt x="121454" y="1667376"/>
                  </a:cubicBezTo>
                  <a:cubicBezTo>
                    <a:pt x="97706" y="1616310"/>
                    <a:pt x="90759" y="1566431"/>
                    <a:pt x="90185" y="1518302"/>
                  </a:cubicBezTo>
                  <a:cubicBezTo>
                    <a:pt x="91350" y="1463797"/>
                    <a:pt x="103522" y="1419167"/>
                    <a:pt x="119749" y="1372224"/>
                  </a:cubicBezTo>
                  <a:cubicBezTo>
                    <a:pt x="134816" y="1342095"/>
                    <a:pt x="149883" y="1311967"/>
                    <a:pt x="171322" y="1283587"/>
                  </a:cubicBezTo>
                  <a:cubicBezTo>
                    <a:pt x="188706" y="1257521"/>
                    <a:pt x="212462" y="1233205"/>
                    <a:pt x="228107" y="1213515"/>
                  </a:cubicBezTo>
                  <a:cubicBezTo>
                    <a:pt x="239692" y="1233828"/>
                    <a:pt x="253594" y="1258204"/>
                    <a:pt x="267495" y="1282581"/>
                  </a:cubicBezTo>
                  <a:cubicBezTo>
                    <a:pt x="287770" y="1308707"/>
                    <a:pt x="308044" y="1334833"/>
                    <a:pt x="334691" y="1362708"/>
                  </a:cubicBezTo>
                  <a:cubicBezTo>
                    <a:pt x="376401" y="1398146"/>
                    <a:pt x="430856" y="1437083"/>
                    <a:pt x="499217" y="1462706"/>
                  </a:cubicBezTo>
                  <a:cubicBezTo>
                    <a:pt x="567578" y="1488328"/>
                    <a:pt x="645789" y="1502949"/>
                    <a:pt x="744279" y="1506005"/>
                  </a:cubicBezTo>
                  <a:cubicBezTo>
                    <a:pt x="809167" y="1506688"/>
                    <a:pt x="883905" y="1496370"/>
                    <a:pt x="966755" y="1481425"/>
                  </a:cubicBezTo>
                  <a:cubicBezTo>
                    <a:pt x="966755" y="1481425"/>
                    <a:pt x="969072" y="1485488"/>
                    <a:pt x="969072" y="1485488"/>
                  </a:cubicBezTo>
                  <a:cubicBezTo>
                    <a:pt x="1000353" y="1521489"/>
                    <a:pt x="1043801" y="1550551"/>
                    <a:pt x="1095361" y="1574987"/>
                  </a:cubicBezTo>
                  <a:cubicBezTo>
                    <a:pt x="1146921" y="1599423"/>
                    <a:pt x="1210648" y="1616920"/>
                    <a:pt x="1284225" y="1623416"/>
                  </a:cubicBezTo>
                  <a:cubicBezTo>
                    <a:pt x="1313772" y="1628102"/>
                    <a:pt x="1339845" y="1607848"/>
                    <a:pt x="1344483" y="1578283"/>
                  </a:cubicBezTo>
                  <a:cubicBezTo>
                    <a:pt x="1349122" y="1548717"/>
                    <a:pt x="1328847" y="1522591"/>
                    <a:pt x="1299301" y="1517905"/>
                  </a:cubicBezTo>
                  <a:cubicBezTo>
                    <a:pt x="1223406" y="1507347"/>
                    <a:pt x="1163735" y="1487537"/>
                    <a:pt x="1118548" y="1464851"/>
                  </a:cubicBezTo>
                  <a:cubicBezTo>
                    <a:pt x="1086106" y="1445663"/>
                    <a:pt x="1060037" y="1428226"/>
                    <a:pt x="1039763" y="1402100"/>
                  </a:cubicBezTo>
                  <a:cubicBezTo>
                    <a:pt x="1026439" y="1388162"/>
                    <a:pt x="1014854" y="1367849"/>
                    <a:pt x="1005587" y="1351598"/>
                  </a:cubicBezTo>
                  <a:cubicBezTo>
                    <a:pt x="989368" y="1323159"/>
                    <a:pt x="979522" y="1296470"/>
                    <a:pt x="973732" y="1267468"/>
                  </a:cubicBezTo>
                  <a:cubicBezTo>
                    <a:pt x="967941" y="1238465"/>
                    <a:pt x="964468" y="1213526"/>
                    <a:pt x="967367" y="1190336"/>
                  </a:cubicBezTo>
                  <a:cubicBezTo>
                    <a:pt x="967950" y="1163084"/>
                    <a:pt x="968533" y="1135831"/>
                    <a:pt x="972010" y="1123080"/>
                  </a:cubicBezTo>
                  <a:cubicBezTo>
                    <a:pt x="971432" y="1112641"/>
                    <a:pt x="973171" y="1106266"/>
                    <a:pt x="977226" y="1103953"/>
                  </a:cubicBezTo>
                  <a:cubicBezTo>
                    <a:pt x="974910" y="1099890"/>
                    <a:pt x="974910" y="1099890"/>
                    <a:pt x="974910" y="1099890"/>
                  </a:cubicBezTo>
                  <a:cubicBezTo>
                    <a:pt x="978965" y="1097577"/>
                    <a:pt x="978965" y="1097577"/>
                    <a:pt x="978965" y="1097577"/>
                  </a:cubicBezTo>
                  <a:cubicBezTo>
                    <a:pt x="976648" y="1093514"/>
                    <a:pt x="976648" y="1093514"/>
                    <a:pt x="980704" y="1091201"/>
                  </a:cubicBezTo>
                  <a:cubicBezTo>
                    <a:pt x="1005617" y="1087762"/>
                    <a:pt x="1032268" y="1077946"/>
                    <a:pt x="1050808" y="1072757"/>
                  </a:cubicBezTo>
                  <a:cubicBezTo>
                    <a:pt x="1077460" y="1062942"/>
                    <a:pt x="1096000" y="1057753"/>
                    <a:pt x="1096000" y="1057753"/>
                  </a:cubicBezTo>
                  <a:cubicBezTo>
                    <a:pt x="1116279" y="1046188"/>
                    <a:pt x="1119178" y="1022998"/>
                    <a:pt x="1109910" y="1006747"/>
                  </a:cubicBezTo>
                  <a:cubicBezTo>
                    <a:pt x="1100642" y="990496"/>
                    <a:pt x="1079207" y="981184"/>
                    <a:pt x="1062984" y="990436"/>
                  </a:cubicBezTo>
                  <a:cubicBezTo>
                    <a:pt x="1062984" y="990436"/>
                    <a:pt x="1046761" y="999689"/>
                    <a:pt x="1028221" y="1004878"/>
                  </a:cubicBezTo>
                  <a:cubicBezTo>
                    <a:pt x="1005625" y="1012380"/>
                    <a:pt x="976657" y="1018132"/>
                    <a:pt x="945372" y="1019822"/>
                  </a:cubicBezTo>
                  <a:cubicBezTo>
                    <a:pt x="924515" y="1020949"/>
                    <a:pt x="905397" y="1015700"/>
                    <a:pt x="883961" y="1006388"/>
                  </a:cubicBezTo>
                  <a:cubicBezTo>
                    <a:pt x="864843" y="1001139"/>
                    <a:pt x="845147" y="985451"/>
                    <a:pt x="823134" y="965701"/>
                  </a:cubicBezTo>
                  <a:cubicBezTo>
                    <a:pt x="809810" y="951763"/>
                    <a:pt x="788953" y="952889"/>
                    <a:pt x="772730" y="962142"/>
                  </a:cubicBezTo>
                  <a:cubicBezTo>
                    <a:pt x="758824" y="975456"/>
                    <a:pt x="758242" y="1002709"/>
                    <a:pt x="771565" y="1016647"/>
                  </a:cubicBezTo>
                  <a:cubicBezTo>
                    <a:pt x="798212" y="1044522"/>
                    <a:pt x="826598" y="1066022"/>
                    <a:pt x="858462" y="1074771"/>
                  </a:cubicBezTo>
                  <a:cubicBezTo>
                    <a:pt x="860779" y="1078833"/>
                    <a:pt x="864835" y="1076521"/>
                    <a:pt x="867152" y="1080583"/>
                  </a:cubicBezTo>
                  <a:cubicBezTo>
                    <a:pt x="869469" y="1084646"/>
                    <a:pt x="863674" y="1093335"/>
                    <a:pt x="864252" y="1103773"/>
                  </a:cubicBezTo>
                  <a:cubicBezTo>
                    <a:pt x="861353" y="1126963"/>
                    <a:pt x="856714" y="1156528"/>
                    <a:pt x="858449" y="1187843"/>
                  </a:cubicBezTo>
                  <a:cubicBezTo>
                    <a:pt x="858445" y="1225534"/>
                    <a:pt x="860757" y="1267288"/>
                    <a:pt x="869443" y="1310791"/>
                  </a:cubicBezTo>
                  <a:cubicBezTo>
                    <a:pt x="876972" y="1333418"/>
                    <a:pt x="886818" y="1360107"/>
                    <a:pt x="900719" y="1384483"/>
                  </a:cubicBezTo>
                  <a:cubicBezTo>
                    <a:pt x="840465" y="1391926"/>
                    <a:pt x="788323" y="1394742"/>
                    <a:pt x="746609" y="1396995"/>
                  </a:cubicBezTo>
                  <a:cubicBezTo>
                    <a:pt x="692150" y="1395749"/>
                    <a:pt x="649858" y="1387564"/>
                    <a:pt x="609883" y="1383441"/>
                  </a:cubicBezTo>
                  <a:cubicBezTo>
                    <a:pt x="542100" y="1368257"/>
                    <a:pt x="490540" y="1343821"/>
                    <a:pt x="447092" y="1314759"/>
                  </a:cubicBezTo>
                  <a:cubicBezTo>
                    <a:pt x="418706" y="1293259"/>
                    <a:pt x="394376" y="1269446"/>
                    <a:pt x="376418" y="1247382"/>
                  </a:cubicBezTo>
                  <a:cubicBezTo>
                    <a:pt x="345137" y="1211381"/>
                    <a:pt x="330657" y="1176567"/>
                    <a:pt x="320811" y="1149877"/>
                  </a:cubicBezTo>
                  <a:cubicBezTo>
                    <a:pt x="313860" y="1137689"/>
                    <a:pt x="313282" y="1127251"/>
                    <a:pt x="308648" y="1119126"/>
                  </a:cubicBezTo>
                  <a:cubicBezTo>
                    <a:pt x="308648" y="1119126"/>
                    <a:pt x="308648" y="1119126"/>
                    <a:pt x="308070" y="1108687"/>
                  </a:cubicBezTo>
                  <a:cubicBezTo>
                    <a:pt x="299385" y="1065184"/>
                    <a:pt x="295333" y="1029806"/>
                    <a:pt x="297655" y="996178"/>
                  </a:cubicBezTo>
                  <a:cubicBezTo>
                    <a:pt x="295342" y="954424"/>
                    <a:pt x="301719" y="918483"/>
                    <a:pt x="312730" y="890667"/>
                  </a:cubicBezTo>
                  <a:cubicBezTo>
                    <a:pt x="317368" y="861102"/>
                    <a:pt x="330696" y="837349"/>
                    <a:pt x="344024" y="813595"/>
                  </a:cubicBezTo>
                  <a:cubicBezTo>
                    <a:pt x="364885" y="774778"/>
                    <a:pt x="394436" y="741773"/>
                    <a:pt x="424565" y="719206"/>
                  </a:cubicBezTo>
                  <a:cubicBezTo>
                    <a:pt x="450639" y="698953"/>
                    <a:pt x="472656" y="681012"/>
                    <a:pt x="496991" y="667134"/>
                  </a:cubicBezTo>
                  <a:cubicBezTo>
                    <a:pt x="533493" y="646317"/>
                    <a:pt x="568256" y="631876"/>
                    <a:pt x="594907" y="622061"/>
                  </a:cubicBezTo>
                  <a:cubicBezTo>
                    <a:pt x="609391" y="619184"/>
                    <a:pt x="617503" y="614558"/>
                    <a:pt x="623876" y="616308"/>
                  </a:cubicBezTo>
                  <a:cubicBezTo>
                    <a:pt x="627931" y="613995"/>
                    <a:pt x="631987" y="611682"/>
                    <a:pt x="631987" y="611682"/>
                  </a:cubicBezTo>
                  <a:cubicBezTo>
                    <a:pt x="631987" y="611682"/>
                    <a:pt x="631987" y="611682"/>
                    <a:pt x="660955" y="605930"/>
                  </a:cubicBezTo>
                  <a:cubicBezTo>
                    <a:pt x="660955" y="605930"/>
                    <a:pt x="660955" y="605930"/>
                    <a:pt x="671966" y="578114"/>
                  </a:cubicBezTo>
                  <a:cubicBezTo>
                    <a:pt x="684716" y="543922"/>
                    <a:pt x="703839" y="511481"/>
                    <a:pt x="721222" y="485414"/>
                  </a:cubicBezTo>
                  <a:cubicBezTo>
                    <a:pt x="758307" y="437345"/>
                    <a:pt x="795969" y="399714"/>
                    <a:pt x="840582" y="374271"/>
                  </a:cubicBezTo>
                  <a:cubicBezTo>
                    <a:pt x="874767" y="349392"/>
                    <a:pt x="907213" y="330888"/>
                    <a:pt x="944293" y="320509"/>
                  </a:cubicBezTo>
                  <a:cubicBezTo>
                    <a:pt x="991224" y="299129"/>
                    <a:pt x="1045105" y="289937"/>
                    <a:pt x="1092613" y="278995"/>
                  </a:cubicBezTo>
                  <a:cubicBezTo>
                    <a:pt x="1123898" y="277305"/>
                    <a:pt x="1148811" y="273866"/>
                    <a:pt x="1171985" y="276802"/>
                  </a:cubicBezTo>
                  <a:cubicBezTo>
                    <a:pt x="1169086" y="299992"/>
                    <a:pt x="1168503" y="327244"/>
                    <a:pt x="1163865" y="356810"/>
                  </a:cubicBezTo>
                  <a:cubicBezTo>
                    <a:pt x="1165599" y="388125"/>
                    <a:pt x="1169651" y="423503"/>
                    <a:pt x="1173702" y="458881"/>
                  </a:cubicBezTo>
                  <a:cubicBezTo>
                    <a:pt x="1184126" y="496008"/>
                    <a:pt x="1196867" y="537199"/>
                    <a:pt x="1213664" y="576076"/>
                  </a:cubicBezTo>
                  <a:cubicBezTo>
                    <a:pt x="1229883" y="604515"/>
                    <a:pt x="1248419" y="637017"/>
                    <a:pt x="1268693" y="663143"/>
                  </a:cubicBezTo>
                  <a:cubicBezTo>
                    <a:pt x="1304608" y="707269"/>
                    <a:pt x="1350373" y="740394"/>
                    <a:pt x="1406567" y="772955"/>
                  </a:cubicBezTo>
                  <a:cubicBezTo>
                    <a:pt x="1460444" y="801454"/>
                    <a:pt x="1526488" y="823014"/>
                    <a:pt x="1606438" y="831259"/>
                  </a:cubicBezTo>
                  <a:cubicBezTo>
                    <a:pt x="1612811" y="833009"/>
                    <a:pt x="1616867" y="830696"/>
                    <a:pt x="1623239" y="832446"/>
                  </a:cubicBezTo>
                  <a:cubicBezTo>
                    <a:pt x="1630768" y="855072"/>
                    <a:pt x="1640614" y="881762"/>
                    <a:pt x="1649882" y="898012"/>
                  </a:cubicBezTo>
                  <a:cubicBezTo>
                    <a:pt x="1659150" y="914263"/>
                    <a:pt x="1670157" y="924138"/>
                    <a:pt x="1670157" y="924138"/>
                  </a:cubicBezTo>
                  <a:cubicBezTo>
                    <a:pt x="1681741" y="944452"/>
                    <a:pt x="1704915" y="947388"/>
                    <a:pt x="1718821" y="934073"/>
                  </a:cubicBezTo>
                  <a:cubicBezTo>
                    <a:pt x="1736783" y="918445"/>
                    <a:pt x="1742000" y="899318"/>
                    <a:pt x="1726359" y="881318"/>
                  </a:cubicBezTo>
                  <a:cubicBezTo>
                    <a:pt x="1726359" y="881318"/>
                    <a:pt x="1713035" y="867380"/>
                    <a:pt x="1705506" y="844753"/>
                  </a:cubicBezTo>
                  <a:cubicBezTo>
                    <a:pt x="1698555" y="832565"/>
                    <a:pt x="1695660" y="818064"/>
                    <a:pt x="1688710" y="805876"/>
                  </a:cubicBezTo>
                  <a:cubicBezTo>
                    <a:pt x="1685814" y="791375"/>
                    <a:pt x="1684658" y="770498"/>
                    <a:pt x="1681763" y="755997"/>
                  </a:cubicBezTo>
                  <a:cubicBezTo>
                    <a:pt x="1685240" y="743246"/>
                    <a:pt x="1686401" y="726432"/>
                    <a:pt x="1689879" y="713680"/>
                  </a:cubicBezTo>
                  <a:cubicBezTo>
                    <a:pt x="1697412" y="698616"/>
                    <a:pt x="1704945" y="683551"/>
                    <a:pt x="1712479" y="668487"/>
                  </a:cubicBezTo>
                  <a:cubicBezTo>
                    <a:pt x="1724068" y="651110"/>
                    <a:pt x="1722912" y="630233"/>
                    <a:pt x="1705532" y="618608"/>
                  </a:cubicBezTo>
                  <a:cubicBezTo>
                    <a:pt x="1692209" y="604670"/>
                    <a:pt x="1667296" y="608110"/>
                    <a:pt x="1655707" y="625487"/>
                  </a:cubicBezTo>
                  <a:cubicBezTo>
                    <a:pt x="1640062" y="645178"/>
                    <a:pt x="1626734" y="668931"/>
                    <a:pt x="1623835" y="692120"/>
                  </a:cubicBezTo>
                  <a:cubicBezTo>
                    <a:pt x="1618040" y="700809"/>
                    <a:pt x="1614562" y="713561"/>
                    <a:pt x="1615141" y="723999"/>
                  </a:cubicBezTo>
                  <a:cubicBezTo>
                    <a:pt x="1556048" y="714627"/>
                    <a:pt x="1509122" y="698317"/>
                    <a:pt x="1472624" y="681443"/>
                  </a:cubicBezTo>
                  <a:cubicBezTo>
                    <a:pt x="1438444" y="668631"/>
                    <a:pt x="1416430" y="648881"/>
                    <a:pt x="1390361" y="631444"/>
                  </a:cubicBezTo>
                  <a:cubicBezTo>
                    <a:pt x="1359658" y="605881"/>
                    <a:pt x="1334750" y="571630"/>
                    <a:pt x="1316214" y="539128"/>
                  </a:cubicBezTo>
                  <a:cubicBezTo>
                    <a:pt x="1297679" y="506626"/>
                    <a:pt x="1289572" y="473561"/>
                    <a:pt x="1281464" y="440497"/>
                  </a:cubicBezTo>
                  <a:cubicBezTo>
                    <a:pt x="1275674" y="411494"/>
                    <a:pt x="1276257" y="384242"/>
                    <a:pt x="1272783" y="359302"/>
                  </a:cubicBezTo>
                  <a:cubicBezTo>
                    <a:pt x="1272788" y="321611"/>
                    <a:pt x="1277426" y="292046"/>
                    <a:pt x="1282642" y="272919"/>
                  </a:cubicBezTo>
                  <a:cubicBezTo>
                    <a:pt x="1286120" y="260167"/>
                    <a:pt x="1287859" y="253792"/>
                    <a:pt x="1289598" y="247416"/>
                  </a:cubicBezTo>
                  <a:cubicBezTo>
                    <a:pt x="1291336" y="241040"/>
                    <a:pt x="1291336" y="241040"/>
                    <a:pt x="1291336" y="241040"/>
                  </a:cubicBezTo>
                  <a:cubicBezTo>
                    <a:pt x="1305825" y="200473"/>
                    <a:pt x="1324947" y="168031"/>
                    <a:pt x="1346387" y="139652"/>
                  </a:cubicBezTo>
                  <a:cubicBezTo>
                    <a:pt x="1379415" y="93896"/>
                    <a:pt x="1419395" y="60327"/>
                    <a:pt x="1470381" y="36634"/>
                  </a:cubicBezTo>
                  <a:cubicBezTo>
                    <a:pt x="1521367" y="12941"/>
                    <a:pt x="1576987" y="-2627"/>
                    <a:pt x="1637819" y="369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10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  <a:gs pos="50000">
                  <a:schemeClr val="accent1">
                    <a:lumMod val="100000"/>
                  </a:schemeClr>
                </a:gs>
                <a:gs pos="50100">
                  <a:schemeClr val="accent1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" name="ValueShape2"/>
            <p:cNvSpPr/>
            <p:nvPr/>
          </p:nvSpPr>
          <p:spPr>
            <a:xfrm flipH="1">
              <a:off x="6145585" y="1107828"/>
              <a:ext cx="1977281" cy="3678359"/>
            </a:xfrm>
            <a:custGeom>
              <a:avLst/>
              <a:gdLst>
                <a:gd name="connsiteX0" fmla="*/ 1637819 w 1977281"/>
                <a:gd name="connsiteY0" fmla="*/ 369 h 3678359"/>
                <a:gd name="connsiteX1" fmla="*/ 1768750 w 1977281"/>
                <a:gd name="connsiteY1" fmla="*/ 22612 h 3678359"/>
                <a:gd name="connsiteX2" fmla="*/ 1835373 w 1977281"/>
                <a:gd name="connsiteY2" fmla="*/ 54611 h 3678359"/>
                <a:gd name="connsiteX3" fmla="*/ 1917053 w 1977281"/>
                <a:gd name="connsiteY3" fmla="*/ 131862 h 3678359"/>
                <a:gd name="connsiteX4" fmla="*/ 1950069 w 1977281"/>
                <a:gd name="connsiteY4" fmla="*/ 199178 h 3678359"/>
                <a:gd name="connsiteX5" fmla="*/ 1972073 w 1977281"/>
                <a:gd name="connsiteY5" fmla="*/ 294310 h 3678359"/>
                <a:gd name="connsiteX6" fmla="*/ 1977281 w 1977281"/>
                <a:gd name="connsiteY6" fmla="*/ 350565 h 3678359"/>
                <a:gd name="connsiteX7" fmla="*/ 1976042 w 1977281"/>
                <a:gd name="connsiteY7" fmla="*/ 1045816 h 3678359"/>
                <a:gd name="connsiteX8" fmla="*/ 1968509 w 1977281"/>
                <a:gd name="connsiteY8" fmla="*/ 1060880 h 3678359"/>
                <a:gd name="connsiteX9" fmla="*/ 1944161 w 1977281"/>
                <a:gd name="connsiteY9" fmla="*/ 1187831 h 3678359"/>
                <a:gd name="connsiteX10" fmla="*/ 1863029 w 1977281"/>
                <a:gd name="connsiteY10" fmla="*/ 1384854 h 3678359"/>
                <a:gd name="connsiteX11" fmla="*/ 1748877 w 1977281"/>
                <a:gd name="connsiteY11" fmla="*/ 1552252 h 3678359"/>
                <a:gd name="connsiteX12" fmla="*/ 1468443 w 1977281"/>
                <a:gd name="connsiteY12" fmla="*/ 1776792 h 3678359"/>
                <a:gd name="connsiteX13" fmla="*/ 1015372 w 1977281"/>
                <a:gd name="connsiteY13" fmla="*/ 1905960 h 3678359"/>
                <a:gd name="connsiteX14" fmla="*/ 873429 w 1977281"/>
                <a:gd name="connsiteY14" fmla="*/ 1911533 h 3678359"/>
                <a:gd name="connsiteX15" fmla="*/ 615039 w 1977281"/>
                <a:gd name="connsiteY15" fmla="*/ 1891987 h 3678359"/>
                <a:gd name="connsiteX16" fmla="*/ 475995 w 1977281"/>
                <a:gd name="connsiteY16" fmla="*/ 1874370 h 3678359"/>
                <a:gd name="connsiteX17" fmla="*/ 354914 w 1977281"/>
                <a:gd name="connsiteY17" fmla="*/ 1841125 h 3678359"/>
                <a:gd name="connsiteX18" fmla="*/ 281332 w 1977281"/>
                <a:gd name="connsiteY18" fmla="*/ 1872321 h 3678359"/>
                <a:gd name="connsiteX19" fmla="*/ 316665 w 1977281"/>
                <a:gd name="connsiteY19" fmla="*/ 1943700 h 3678359"/>
                <a:gd name="connsiteX20" fmla="*/ 454547 w 1977281"/>
                <a:gd name="connsiteY20" fmla="*/ 1978131 h 3678359"/>
                <a:gd name="connsiteX21" fmla="*/ 675858 w 1977281"/>
                <a:gd name="connsiteY21" fmla="*/ 2008055 h 3678359"/>
                <a:gd name="connsiteX22" fmla="*/ 875155 w 1977281"/>
                <a:gd name="connsiteY22" fmla="*/ 2018230 h 3678359"/>
                <a:gd name="connsiteX23" fmla="*/ 1023470 w 1977281"/>
                <a:gd name="connsiteY23" fmla="*/ 2014407 h 3678359"/>
                <a:gd name="connsiteX24" fmla="*/ 1342123 w 1977281"/>
                <a:gd name="connsiteY24" fmla="*/ 1951129 h 3678359"/>
                <a:gd name="connsiteX25" fmla="*/ 1737270 w 1977281"/>
                <a:gd name="connsiteY25" fmla="*/ 1720393 h 3678359"/>
                <a:gd name="connsiteX26" fmla="*/ 1919792 w 1977281"/>
                <a:gd name="connsiteY26" fmla="*/ 1503236 h 3678359"/>
                <a:gd name="connsiteX27" fmla="*/ 1970787 w 1977281"/>
                <a:gd name="connsiteY27" fmla="*/ 1404161 h 3678359"/>
                <a:gd name="connsiteX28" fmla="*/ 1968866 w 1977281"/>
                <a:gd name="connsiteY28" fmla="*/ 2993555 h 3678359"/>
                <a:gd name="connsiteX29" fmla="*/ 1959577 w 1977281"/>
                <a:gd name="connsiteY29" fmla="*/ 3165759 h 3678359"/>
                <a:gd name="connsiteX30" fmla="*/ 1952035 w 1977281"/>
                <a:gd name="connsiteY30" fmla="*/ 3256205 h 3678359"/>
                <a:gd name="connsiteX31" fmla="*/ 1938124 w 1977281"/>
                <a:gd name="connsiteY31" fmla="*/ 3307210 h 3678359"/>
                <a:gd name="connsiteX32" fmla="*/ 1916681 w 1977281"/>
                <a:gd name="connsiteY32" fmla="*/ 3373280 h 3678359"/>
                <a:gd name="connsiteX33" fmla="*/ 1876697 w 1977281"/>
                <a:gd name="connsiteY33" fmla="*/ 3444540 h 3678359"/>
                <a:gd name="connsiteX34" fmla="*/ 1808323 w 1977281"/>
                <a:gd name="connsiteY34" fmla="*/ 3531990 h 3678359"/>
                <a:gd name="connsiteX35" fmla="*/ 1693601 w 1977281"/>
                <a:gd name="connsiteY35" fmla="*/ 3613568 h 3678359"/>
                <a:gd name="connsiteX36" fmla="*/ 1657099 w 1977281"/>
                <a:gd name="connsiteY36" fmla="*/ 3634385 h 3678359"/>
                <a:gd name="connsiteX37" fmla="*/ 1642615 w 1977281"/>
                <a:gd name="connsiteY37" fmla="*/ 3637261 h 3678359"/>
                <a:gd name="connsiteX38" fmla="*/ 1391749 w 1977281"/>
                <a:gd name="connsiteY38" fmla="*/ 3678032 h 3678359"/>
                <a:gd name="connsiteX39" fmla="*/ 1169861 w 1977281"/>
                <a:gd name="connsiteY39" fmla="*/ 3637669 h 3678359"/>
                <a:gd name="connsiteX40" fmla="*/ 1053418 w 1977281"/>
                <a:gd name="connsiteY40" fmla="*/ 3574859 h 3678359"/>
                <a:gd name="connsiteX41" fmla="*/ 943351 w 1977281"/>
                <a:gd name="connsiteY41" fmla="*/ 3476107 h 3678359"/>
                <a:gd name="connsiteX42" fmla="*/ 916126 w 1977281"/>
                <a:gd name="connsiteY42" fmla="*/ 3437793 h 3678359"/>
                <a:gd name="connsiteX43" fmla="*/ 907436 w 1977281"/>
                <a:gd name="connsiteY43" fmla="*/ 3431981 h 3678359"/>
                <a:gd name="connsiteX44" fmla="*/ 893535 w 1977281"/>
                <a:gd name="connsiteY44" fmla="*/ 3407605 h 3678359"/>
                <a:gd name="connsiteX45" fmla="*/ 891218 w 1977281"/>
                <a:gd name="connsiteY45" fmla="*/ 3403542 h 3678359"/>
                <a:gd name="connsiteX46" fmla="*/ 881950 w 1977281"/>
                <a:gd name="connsiteY46" fmla="*/ 3387291 h 3678359"/>
                <a:gd name="connsiteX47" fmla="*/ 840827 w 1977281"/>
                <a:gd name="connsiteY47" fmla="*/ 3286910 h 3678359"/>
                <a:gd name="connsiteX48" fmla="*/ 811880 w 1977281"/>
                <a:gd name="connsiteY48" fmla="*/ 3104208 h 3678359"/>
                <a:gd name="connsiteX49" fmla="*/ 850721 w 1977281"/>
                <a:gd name="connsiteY49" fmla="*/ 2898999 h 3678359"/>
                <a:gd name="connsiteX50" fmla="*/ 983996 w 1977281"/>
                <a:gd name="connsiteY50" fmla="*/ 2699159 h 3678359"/>
                <a:gd name="connsiteX51" fmla="*/ 1100456 w 1977281"/>
                <a:gd name="connsiteY51" fmla="*/ 2611206 h 3678359"/>
                <a:gd name="connsiteX52" fmla="*/ 1229080 w 1977281"/>
                <a:gd name="connsiteY52" fmla="*/ 2554004 h 3678359"/>
                <a:gd name="connsiteX53" fmla="*/ 1394779 w 1977281"/>
                <a:gd name="connsiteY53" fmla="*/ 2524115 h 3678359"/>
                <a:gd name="connsiteX54" fmla="*/ 1517021 w 1977281"/>
                <a:gd name="connsiteY54" fmla="*/ 2540545 h 3678359"/>
                <a:gd name="connsiteX55" fmla="*/ 1647370 w 1977281"/>
                <a:gd name="connsiteY55" fmla="*/ 2590041 h 3678359"/>
                <a:gd name="connsiteX56" fmla="*/ 1721530 w 1977281"/>
                <a:gd name="connsiteY56" fmla="*/ 2569283 h 3678359"/>
                <a:gd name="connsiteX57" fmla="*/ 1696626 w 1977281"/>
                <a:gd name="connsiteY57" fmla="*/ 2497341 h 3678359"/>
                <a:gd name="connsiteX58" fmla="*/ 1542525 w 1977281"/>
                <a:gd name="connsiteY58" fmla="*/ 2434471 h 3678359"/>
                <a:gd name="connsiteX59" fmla="*/ 1393053 w 1977281"/>
                <a:gd name="connsiteY59" fmla="*/ 2417418 h 3678359"/>
                <a:gd name="connsiteX60" fmla="*/ 1196068 w 1977281"/>
                <a:gd name="connsiteY60" fmla="*/ 2448997 h 3678359"/>
                <a:gd name="connsiteX61" fmla="*/ 982274 w 1977281"/>
                <a:gd name="connsiteY61" fmla="*/ 2554771 h 3678359"/>
                <a:gd name="connsiteX62" fmla="*/ 902315 w 1977281"/>
                <a:gd name="connsiteY62" fmla="*/ 2621908 h 3678359"/>
                <a:gd name="connsiteX63" fmla="*/ 748179 w 1977281"/>
                <a:gd name="connsiteY63" fmla="*/ 2860565 h 3678359"/>
                <a:gd name="connsiteX64" fmla="*/ 702962 w 1977281"/>
                <a:gd name="connsiteY64" fmla="*/ 3101715 h 3678359"/>
                <a:gd name="connsiteX65" fmla="*/ 735960 w 1977281"/>
                <a:gd name="connsiteY65" fmla="*/ 3319795 h 3678359"/>
                <a:gd name="connsiteX66" fmla="*/ 756230 w 1977281"/>
                <a:gd name="connsiteY66" fmla="*/ 3383612 h 3678359"/>
                <a:gd name="connsiteX67" fmla="*/ 702932 w 1977281"/>
                <a:gd name="connsiteY67" fmla="*/ 3365552 h 3678359"/>
                <a:gd name="connsiteX68" fmla="*/ 591122 w 1977281"/>
                <a:gd name="connsiteY68" fmla="*/ 3310867 h 3678359"/>
                <a:gd name="connsiteX69" fmla="*/ 452670 w 1977281"/>
                <a:gd name="connsiteY69" fmla="*/ 3190616 h 3678359"/>
                <a:gd name="connsiteX70" fmla="*/ 347829 w 1977281"/>
                <a:gd name="connsiteY70" fmla="*/ 2997355 h 3678359"/>
                <a:gd name="connsiteX71" fmla="*/ 329297 w 1977281"/>
                <a:gd name="connsiteY71" fmla="*/ 2927163 h 3678359"/>
                <a:gd name="connsiteX72" fmla="*/ 326980 w 1977281"/>
                <a:gd name="connsiteY72" fmla="*/ 2923100 h 3678359"/>
                <a:gd name="connsiteX73" fmla="*/ 328719 w 1977281"/>
                <a:gd name="connsiteY73" fmla="*/ 2916724 h 3678359"/>
                <a:gd name="connsiteX74" fmla="*/ 328141 w 1977281"/>
                <a:gd name="connsiteY74" fmla="*/ 2906286 h 3678359"/>
                <a:gd name="connsiteX75" fmla="*/ 323507 w 1977281"/>
                <a:gd name="connsiteY75" fmla="*/ 2898161 h 3678359"/>
                <a:gd name="connsiteX76" fmla="*/ 317721 w 1977281"/>
                <a:gd name="connsiteY76" fmla="*/ 2831467 h 3678359"/>
                <a:gd name="connsiteX77" fmla="*/ 328158 w 1977281"/>
                <a:gd name="connsiteY77" fmla="*/ 2755522 h 3678359"/>
                <a:gd name="connsiteX78" fmla="*/ 361191 w 1977281"/>
                <a:gd name="connsiteY78" fmla="*/ 2672075 h 3678359"/>
                <a:gd name="connsiteX79" fmla="*/ 340343 w 1977281"/>
                <a:gd name="connsiteY79" fmla="*/ 2597820 h 3678359"/>
                <a:gd name="connsiteX80" fmla="*/ 266183 w 1977281"/>
                <a:gd name="connsiteY80" fmla="*/ 2618577 h 3678359"/>
                <a:gd name="connsiteX81" fmla="*/ 222139 w 1977281"/>
                <a:gd name="connsiteY81" fmla="*/ 2729840 h 3678359"/>
                <a:gd name="connsiteX82" fmla="*/ 210546 w 1977281"/>
                <a:gd name="connsiteY82" fmla="*/ 2784908 h 3678359"/>
                <a:gd name="connsiteX83" fmla="*/ 198961 w 1977281"/>
                <a:gd name="connsiteY83" fmla="*/ 2764595 h 3678359"/>
                <a:gd name="connsiteX84" fmla="*/ 152622 w 1977281"/>
                <a:gd name="connsiteY84" fmla="*/ 2683340 h 3678359"/>
                <a:gd name="connsiteX85" fmla="*/ 112082 w 1977281"/>
                <a:gd name="connsiteY85" fmla="*/ 2555707 h 3678359"/>
                <a:gd name="connsiteX86" fmla="*/ 101666 w 1977281"/>
                <a:gd name="connsiteY86" fmla="*/ 2443197 h 3678359"/>
                <a:gd name="connsiteX87" fmla="*/ 192619 w 1977281"/>
                <a:gd name="connsiteY87" fmla="*/ 2499009 h 3678359"/>
                <a:gd name="connsiteX88" fmla="*/ 400023 w 1977281"/>
                <a:gd name="connsiteY88" fmla="*/ 2542248 h 3678359"/>
                <a:gd name="connsiteX89" fmla="*/ 603380 w 1977281"/>
                <a:gd name="connsiteY89" fmla="*/ 2512419 h 3678359"/>
                <a:gd name="connsiteX90" fmla="*/ 848460 w 1977281"/>
                <a:gd name="connsiteY90" fmla="*/ 2404954 h 3678359"/>
                <a:gd name="connsiteX91" fmla="*/ 854255 w 1977281"/>
                <a:gd name="connsiteY91" fmla="*/ 2396266 h 3678359"/>
                <a:gd name="connsiteX92" fmla="*/ 902915 w 1977281"/>
                <a:gd name="connsiteY92" fmla="*/ 2443892 h 3678359"/>
                <a:gd name="connsiteX93" fmla="*/ 933040 w 1977281"/>
                <a:gd name="connsiteY93" fmla="*/ 2459016 h 3678359"/>
                <a:gd name="connsiteX94" fmla="*/ 978231 w 1977281"/>
                <a:gd name="connsiteY94" fmla="*/ 2444011 h 3678359"/>
                <a:gd name="connsiteX95" fmla="*/ 967229 w 1977281"/>
                <a:gd name="connsiteY95" fmla="*/ 2396445 h 3678359"/>
                <a:gd name="connsiteX96" fmla="*/ 949850 w 1977281"/>
                <a:gd name="connsiteY96" fmla="*/ 2384820 h 3678359"/>
                <a:gd name="connsiteX97" fmla="*/ 896555 w 1977281"/>
                <a:gd name="connsiteY97" fmla="*/ 2329069 h 3678359"/>
                <a:gd name="connsiteX98" fmla="*/ 877442 w 1977281"/>
                <a:gd name="connsiteY98" fmla="*/ 2286129 h 3678359"/>
                <a:gd name="connsiteX99" fmla="*/ 868178 w 1977281"/>
                <a:gd name="connsiteY99" fmla="*/ 2232187 h 3678359"/>
                <a:gd name="connsiteX100" fmla="*/ 870499 w 1977281"/>
                <a:gd name="connsiteY100" fmla="*/ 2198559 h 3678359"/>
                <a:gd name="connsiteX101" fmla="*/ 840957 w 1977281"/>
                <a:gd name="connsiteY101" fmla="*/ 2156182 h 3678359"/>
                <a:gd name="connsiteX102" fmla="*/ 798661 w 1977281"/>
                <a:gd name="connsiteY102" fmla="*/ 2185688 h 3678359"/>
                <a:gd name="connsiteX103" fmla="*/ 792862 w 1977281"/>
                <a:gd name="connsiteY103" fmla="*/ 2232068 h 3678359"/>
                <a:gd name="connsiteX104" fmla="*/ 807337 w 1977281"/>
                <a:gd name="connsiteY104" fmla="*/ 2304573 h 3678359"/>
                <a:gd name="connsiteX105" fmla="*/ 792853 w 1977281"/>
                <a:gd name="connsiteY105" fmla="*/ 2307449 h 3678359"/>
                <a:gd name="connsiteX106" fmla="*/ 570369 w 1977281"/>
                <a:gd name="connsiteY106" fmla="*/ 2407411 h 3678359"/>
                <a:gd name="connsiteX107" fmla="*/ 398297 w 1977281"/>
                <a:gd name="connsiteY107" fmla="*/ 2435551 h 3678359"/>
                <a:gd name="connsiteX108" fmla="*/ 252303 w 1977281"/>
                <a:gd name="connsiteY108" fmla="*/ 2405746 h 3678359"/>
                <a:gd name="connsiteX109" fmla="*/ 174674 w 1977281"/>
                <a:gd name="connsiteY109" fmla="*/ 2363872 h 3678359"/>
                <a:gd name="connsiteX110" fmla="*/ 104001 w 1977281"/>
                <a:gd name="connsiteY110" fmla="*/ 2296496 h 3678359"/>
                <a:gd name="connsiteX111" fmla="*/ 90099 w 1977281"/>
                <a:gd name="connsiteY111" fmla="*/ 2272120 h 3678359"/>
                <a:gd name="connsiteX112" fmla="*/ 87782 w 1977281"/>
                <a:gd name="connsiteY112" fmla="*/ 2268057 h 3678359"/>
                <a:gd name="connsiteX113" fmla="*/ 85465 w 1977281"/>
                <a:gd name="connsiteY113" fmla="*/ 2263995 h 3678359"/>
                <a:gd name="connsiteX114" fmla="*/ 72141 w 1977281"/>
                <a:gd name="connsiteY114" fmla="*/ 2250057 h 3678359"/>
                <a:gd name="connsiteX115" fmla="*/ 22329 w 1977281"/>
                <a:gd name="connsiteY115" fmla="*/ 2143863 h 3678359"/>
                <a:gd name="connsiteX116" fmla="*/ 329 w 1977281"/>
                <a:gd name="connsiteY116" fmla="*/ 2011040 h 3678359"/>
                <a:gd name="connsiteX117" fmla="*/ 14826 w 1977281"/>
                <a:gd name="connsiteY117" fmla="*/ 1895091 h 3678359"/>
                <a:gd name="connsiteX118" fmla="*/ 79149 w 1977281"/>
                <a:gd name="connsiteY118" fmla="*/ 1772263 h 3678359"/>
                <a:gd name="connsiteX119" fmla="*/ 102327 w 1977281"/>
                <a:gd name="connsiteY119" fmla="*/ 1737508 h 3678359"/>
                <a:gd name="connsiteX120" fmla="*/ 108121 w 1977281"/>
                <a:gd name="connsiteY120" fmla="*/ 1728820 h 3678359"/>
                <a:gd name="connsiteX121" fmla="*/ 112177 w 1977281"/>
                <a:gd name="connsiteY121" fmla="*/ 1726507 h 3678359"/>
                <a:gd name="connsiteX122" fmla="*/ 135933 w 1977281"/>
                <a:gd name="connsiteY122" fmla="*/ 1702190 h 3678359"/>
                <a:gd name="connsiteX123" fmla="*/ 121454 w 1977281"/>
                <a:gd name="connsiteY123" fmla="*/ 1667376 h 3678359"/>
                <a:gd name="connsiteX124" fmla="*/ 90185 w 1977281"/>
                <a:gd name="connsiteY124" fmla="*/ 1518302 h 3678359"/>
                <a:gd name="connsiteX125" fmla="*/ 119749 w 1977281"/>
                <a:gd name="connsiteY125" fmla="*/ 1372224 h 3678359"/>
                <a:gd name="connsiteX126" fmla="*/ 171322 w 1977281"/>
                <a:gd name="connsiteY126" fmla="*/ 1283587 h 3678359"/>
                <a:gd name="connsiteX127" fmla="*/ 228107 w 1977281"/>
                <a:gd name="connsiteY127" fmla="*/ 1213515 h 3678359"/>
                <a:gd name="connsiteX128" fmla="*/ 267495 w 1977281"/>
                <a:gd name="connsiteY128" fmla="*/ 1282581 h 3678359"/>
                <a:gd name="connsiteX129" fmla="*/ 334691 w 1977281"/>
                <a:gd name="connsiteY129" fmla="*/ 1362708 h 3678359"/>
                <a:gd name="connsiteX130" fmla="*/ 499217 w 1977281"/>
                <a:gd name="connsiteY130" fmla="*/ 1462706 h 3678359"/>
                <a:gd name="connsiteX131" fmla="*/ 744279 w 1977281"/>
                <a:gd name="connsiteY131" fmla="*/ 1506005 h 3678359"/>
                <a:gd name="connsiteX132" fmla="*/ 966755 w 1977281"/>
                <a:gd name="connsiteY132" fmla="*/ 1481425 h 3678359"/>
                <a:gd name="connsiteX133" fmla="*/ 969072 w 1977281"/>
                <a:gd name="connsiteY133" fmla="*/ 1485488 h 3678359"/>
                <a:gd name="connsiteX134" fmla="*/ 1095361 w 1977281"/>
                <a:gd name="connsiteY134" fmla="*/ 1574987 h 3678359"/>
                <a:gd name="connsiteX135" fmla="*/ 1284225 w 1977281"/>
                <a:gd name="connsiteY135" fmla="*/ 1623416 h 3678359"/>
                <a:gd name="connsiteX136" fmla="*/ 1344483 w 1977281"/>
                <a:gd name="connsiteY136" fmla="*/ 1578283 h 3678359"/>
                <a:gd name="connsiteX137" fmla="*/ 1299301 w 1977281"/>
                <a:gd name="connsiteY137" fmla="*/ 1517905 h 3678359"/>
                <a:gd name="connsiteX138" fmla="*/ 1118548 w 1977281"/>
                <a:gd name="connsiteY138" fmla="*/ 1464851 h 3678359"/>
                <a:gd name="connsiteX139" fmla="*/ 1039763 w 1977281"/>
                <a:gd name="connsiteY139" fmla="*/ 1402100 h 3678359"/>
                <a:gd name="connsiteX140" fmla="*/ 1005587 w 1977281"/>
                <a:gd name="connsiteY140" fmla="*/ 1351598 h 3678359"/>
                <a:gd name="connsiteX141" fmla="*/ 973732 w 1977281"/>
                <a:gd name="connsiteY141" fmla="*/ 1267468 h 3678359"/>
                <a:gd name="connsiteX142" fmla="*/ 967367 w 1977281"/>
                <a:gd name="connsiteY142" fmla="*/ 1190336 h 3678359"/>
                <a:gd name="connsiteX143" fmla="*/ 972010 w 1977281"/>
                <a:gd name="connsiteY143" fmla="*/ 1123080 h 3678359"/>
                <a:gd name="connsiteX144" fmla="*/ 977226 w 1977281"/>
                <a:gd name="connsiteY144" fmla="*/ 1103953 h 3678359"/>
                <a:gd name="connsiteX145" fmla="*/ 974910 w 1977281"/>
                <a:gd name="connsiteY145" fmla="*/ 1099890 h 3678359"/>
                <a:gd name="connsiteX146" fmla="*/ 978965 w 1977281"/>
                <a:gd name="connsiteY146" fmla="*/ 1097577 h 3678359"/>
                <a:gd name="connsiteX147" fmla="*/ 980704 w 1977281"/>
                <a:gd name="connsiteY147" fmla="*/ 1091201 h 3678359"/>
                <a:gd name="connsiteX148" fmla="*/ 1050808 w 1977281"/>
                <a:gd name="connsiteY148" fmla="*/ 1072757 h 3678359"/>
                <a:gd name="connsiteX149" fmla="*/ 1096000 w 1977281"/>
                <a:gd name="connsiteY149" fmla="*/ 1057753 h 3678359"/>
                <a:gd name="connsiteX150" fmla="*/ 1109910 w 1977281"/>
                <a:gd name="connsiteY150" fmla="*/ 1006747 h 3678359"/>
                <a:gd name="connsiteX151" fmla="*/ 1062984 w 1977281"/>
                <a:gd name="connsiteY151" fmla="*/ 990436 h 3678359"/>
                <a:gd name="connsiteX152" fmla="*/ 1028221 w 1977281"/>
                <a:gd name="connsiteY152" fmla="*/ 1004878 h 3678359"/>
                <a:gd name="connsiteX153" fmla="*/ 945372 w 1977281"/>
                <a:gd name="connsiteY153" fmla="*/ 1019822 h 3678359"/>
                <a:gd name="connsiteX154" fmla="*/ 883961 w 1977281"/>
                <a:gd name="connsiteY154" fmla="*/ 1006388 h 3678359"/>
                <a:gd name="connsiteX155" fmla="*/ 823134 w 1977281"/>
                <a:gd name="connsiteY155" fmla="*/ 965701 h 3678359"/>
                <a:gd name="connsiteX156" fmla="*/ 772730 w 1977281"/>
                <a:gd name="connsiteY156" fmla="*/ 962142 h 3678359"/>
                <a:gd name="connsiteX157" fmla="*/ 771565 w 1977281"/>
                <a:gd name="connsiteY157" fmla="*/ 1016647 h 3678359"/>
                <a:gd name="connsiteX158" fmla="*/ 858462 w 1977281"/>
                <a:gd name="connsiteY158" fmla="*/ 1074771 h 3678359"/>
                <a:gd name="connsiteX159" fmla="*/ 867152 w 1977281"/>
                <a:gd name="connsiteY159" fmla="*/ 1080583 h 3678359"/>
                <a:gd name="connsiteX160" fmla="*/ 864252 w 1977281"/>
                <a:gd name="connsiteY160" fmla="*/ 1103773 h 3678359"/>
                <a:gd name="connsiteX161" fmla="*/ 858449 w 1977281"/>
                <a:gd name="connsiteY161" fmla="*/ 1187843 h 3678359"/>
                <a:gd name="connsiteX162" fmla="*/ 869443 w 1977281"/>
                <a:gd name="connsiteY162" fmla="*/ 1310791 h 3678359"/>
                <a:gd name="connsiteX163" fmla="*/ 900719 w 1977281"/>
                <a:gd name="connsiteY163" fmla="*/ 1384483 h 3678359"/>
                <a:gd name="connsiteX164" fmla="*/ 746609 w 1977281"/>
                <a:gd name="connsiteY164" fmla="*/ 1396995 h 3678359"/>
                <a:gd name="connsiteX165" fmla="*/ 609883 w 1977281"/>
                <a:gd name="connsiteY165" fmla="*/ 1383441 h 3678359"/>
                <a:gd name="connsiteX166" fmla="*/ 447092 w 1977281"/>
                <a:gd name="connsiteY166" fmla="*/ 1314759 h 3678359"/>
                <a:gd name="connsiteX167" fmla="*/ 376418 w 1977281"/>
                <a:gd name="connsiteY167" fmla="*/ 1247382 h 3678359"/>
                <a:gd name="connsiteX168" fmla="*/ 320811 w 1977281"/>
                <a:gd name="connsiteY168" fmla="*/ 1149877 h 3678359"/>
                <a:gd name="connsiteX169" fmla="*/ 308648 w 1977281"/>
                <a:gd name="connsiteY169" fmla="*/ 1119126 h 3678359"/>
                <a:gd name="connsiteX170" fmla="*/ 308070 w 1977281"/>
                <a:gd name="connsiteY170" fmla="*/ 1108687 h 3678359"/>
                <a:gd name="connsiteX171" fmla="*/ 297655 w 1977281"/>
                <a:gd name="connsiteY171" fmla="*/ 996178 h 3678359"/>
                <a:gd name="connsiteX172" fmla="*/ 312730 w 1977281"/>
                <a:gd name="connsiteY172" fmla="*/ 890667 h 3678359"/>
                <a:gd name="connsiteX173" fmla="*/ 344024 w 1977281"/>
                <a:gd name="connsiteY173" fmla="*/ 813595 h 3678359"/>
                <a:gd name="connsiteX174" fmla="*/ 424565 w 1977281"/>
                <a:gd name="connsiteY174" fmla="*/ 719206 h 3678359"/>
                <a:gd name="connsiteX175" fmla="*/ 496991 w 1977281"/>
                <a:gd name="connsiteY175" fmla="*/ 667134 h 3678359"/>
                <a:gd name="connsiteX176" fmla="*/ 594907 w 1977281"/>
                <a:gd name="connsiteY176" fmla="*/ 622061 h 3678359"/>
                <a:gd name="connsiteX177" fmla="*/ 623876 w 1977281"/>
                <a:gd name="connsiteY177" fmla="*/ 616308 h 3678359"/>
                <a:gd name="connsiteX178" fmla="*/ 631987 w 1977281"/>
                <a:gd name="connsiteY178" fmla="*/ 611682 h 3678359"/>
                <a:gd name="connsiteX179" fmla="*/ 660955 w 1977281"/>
                <a:gd name="connsiteY179" fmla="*/ 605930 h 3678359"/>
                <a:gd name="connsiteX180" fmla="*/ 671966 w 1977281"/>
                <a:gd name="connsiteY180" fmla="*/ 578114 h 3678359"/>
                <a:gd name="connsiteX181" fmla="*/ 721222 w 1977281"/>
                <a:gd name="connsiteY181" fmla="*/ 485414 h 3678359"/>
                <a:gd name="connsiteX182" fmla="*/ 840582 w 1977281"/>
                <a:gd name="connsiteY182" fmla="*/ 374271 h 3678359"/>
                <a:gd name="connsiteX183" fmla="*/ 944293 w 1977281"/>
                <a:gd name="connsiteY183" fmla="*/ 320509 h 3678359"/>
                <a:gd name="connsiteX184" fmla="*/ 1092613 w 1977281"/>
                <a:gd name="connsiteY184" fmla="*/ 278995 h 3678359"/>
                <a:gd name="connsiteX185" fmla="*/ 1171985 w 1977281"/>
                <a:gd name="connsiteY185" fmla="*/ 276802 h 3678359"/>
                <a:gd name="connsiteX186" fmla="*/ 1163865 w 1977281"/>
                <a:gd name="connsiteY186" fmla="*/ 356810 h 3678359"/>
                <a:gd name="connsiteX187" fmla="*/ 1173702 w 1977281"/>
                <a:gd name="connsiteY187" fmla="*/ 458881 h 3678359"/>
                <a:gd name="connsiteX188" fmla="*/ 1213664 w 1977281"/>
                <a:gd name="connsiteY188" fmla="*/ 576076 h 3678359"/>
                <a:gd name="connsiteX189" fmla="*/ 1268693 w 1977281"/>
                <a:gd name="connsiteY189" fmla="*/ 663143 h 3678359"/>
                <a:gd name="connsiteX190" fmla="*/ 1406567 w 1977281"/>
                <a:gd name="connsiteY190" fmla="*/ 772955 h 3678359"/>
                <a:gd name="connsiteX191" fmla="*/ 1606438 w 1977281"/>
                <a:gd name="connsiteY191" fmla="*/ 831259 h 3678359"/>
                <a:gd name="connsiteX192" fmla="*/ 1623239 w 1977281"/>
                <a:gd name="connsiteY192" fmla="*/ 832446 h 3678359"/>
                <a:gd name="connsiteX193" fmla="*/ 1649882 w 1977281"/>
                <a:gd name="connsiteY193" fmla="*/ 898012 h 3678359"/>
                <a:gd name="connsiteX194" fmla="*/ 1670157 w 1977281"/>
                <a:gd name="connsiteY194" fmla="*/ 924138 h 3678359"/>
                <a:gd name="connsiteX195" fmla="*/ 1718821 w 1977281"/>
                <a:gd name="connsiteY195" fmla="*/ 934073 h 3678359"/>
                <a:gd name="connsiteX196" fmla="*/ 1726359 w 1977281"/>
                <a:gd name="connsiteY196" fmla="*/ 881318 h 3678359"/>
                <a:gd name="connsiteX197" fmla="*/ 1705506 w 1977281"/>
                <a:gd name="connsiteY197" fmla="*/ 844753 h 3678359"/>
                <a:gd name="connsiteX198" fmla="*/ 1688710 w 1977281"/>
                <a:gd name="connsiteY198" fmla="*/ 805876 h 3678359"/>
                <a:gd name="connsiteX199" fmla="*/ 1681763 w 1977281"/>
                <a:gd name="connsiteY199" fmla="*/ 755997 h 3678359"/>
                <a:gd name="connsiteX200" fmla="*/ 1689879 w 1977281"/>
                <a:gd name="connsiteY200" fmla="*/ 713680 h 3678359"/>
                <a:gd name="connsiteX201" fmla="*/ 1712479 w 1977281"/>
                <a:gd name="connsiteY201" fmla="*/ 668487 h 3678359"/>
                <a:gd name="connsiteX202" fmla="*/ 1705532 w 1977281"/>
                <a:gd name="connsiteY202" fmla="*/ 618608 h 3678359"/>
                <a:gd name="connsiteX203" fmla="*/ 1655707 w 1977281"/>
                <a:gd name="connsiteY203" fmla="*/ 625487 h 3678359"/>
                <a:gd name="connsiteX204" fmla="*/ 1623835 w 1977281"/>
                <a:gd name="connsiteY204" fmla="*/ 692120 h 3678359"/>
                <a:gd name="connsiteX205" fmla="*/ 1615141 w 1977281"/>
                <a:gd name="connsiteY205" fmla="*/ 723999 h 3678359"/>
                <a:gd name="connsiteX206" fmla="*/ 1472624 w 1977281"/>
                <a:gd name="connsiteY206" fmla="*/ 681443 h 3678359"/>
                <a:gd name="connsiteX207" fmla="*/ 1390361 w 1977281"/>
                <a:gd name="connsiteY207" fmla="*/ 631444 h 3678359"/>
                <a:gd name="connsiteX208" fmla="*/ 1316214 w 1977281"/>
                <a:gd name="connsiteY208" fmla="*/ 539128 h 3678359"/>
                <a:gd name="connsiteX209" fmla="*/ 1281464 w 1977281"/>
                <a:gd name="connsiteY209" fmla="*/ 440497 h 3678359"/>
                <a:gd name="connsiteX210" fmla="*/ 1272783 w 1977281"/>
                <a:gd name="connsiteY210" fmla="*/ 359302 h 3678359"/>
                <a:gd name="connsiteX211" fmla="*/ 1282642 w 1977281"/>
                <a:gd name="connsiteY211" fmla="*/ 272919 h 3678359"/>
                <a:gd name="connsiteX212" fmla="*/ 1289598 w 1977281"/>
                <a:gd name="connsiteY212" fmla="*/ 247416 h 3678359"/>
                <a:gd name="connsiteX213" fmla="*/ 1291336 w 1977281"/>
                <a:gd name="connsiteY213" fmla="*/ 241040 h 3678359"/>
                <a:gd name="connsiteX214" fmla="*/ 1346387 w 1977281"/>
                <a:gd name="connsiteY214" fmla="*/ 139652 h 3678359"/>
                <a:gd name="connsiteX215" fmla="*/ 1470381 w 1977281"/>
                <a:gd name="connsiteY215" fmla="*/ 36634 h 3678359"/>
                <a:gd name="connsiteX216" fmla="*/ 1637819 w 1977281"/>
                <a:gd name="connsiteY216" fmla="*/ 369 h 3678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</a:cxnLst>
              <a:rect l="l" t="t" r="r" b="b"/>
              <a:pathLst>
                <a:path w="1977281" h="3678359">
                  <a:moveTo>
                    <a:pt x="1637819" y="369"/>
                  </a:moveTo>
                  <a:cubicBezTo>
                    <a:pt x="1679533" y="-1884"/>
                    <a:pt x="1721825" y="6302"/>
                    <a:pt x="1768750" y="22612"/>
                  </a:cubicBezTo>
                  <a:cubicBezTo>
                    <a:pt x="1794241" y="29611"/>
                    <a:pt x="1817993" y="42986"/>
                    <a:pt x="1835373" y="54611"/>
                  </a:cubicBezTo>
                  <a:cubicBezTo>
                    <a:pt x="1870131" y="77860"/>
                    <a:pt x="1894462" y="101673"/>
                    <a:pt x="1917053" y="131862"/>
                  </a:cubicBezTo>
                  <a:cubicBezTo>
                    <a:pt x="1928638" y="152175"/>
                    <a:pt x="1942540" y="176552"/>
                    <a:pt x="1950069" y="199178"/>
                  </a:cubicBezTo>
                  <a:cubicBezTo>
                    <a:pt x="1964548" y="233993"/>
                    <a:pt x="1972656" y="267058"/>
                    <a:pt x="1972073" y="294310"/>
                  </a:cubicBezTo>
                  <a:cubicBezTo>
                    <a:pt x="1977863" y="323312"/>
                    <a:pt x="1976703" y="340127"/>
                    <a:pt x="1977281" y="350565"/>
                  </a:cubicBezTo>
                  <a:cubicBezTo>
                    <a:pt x="1977281" y="350565"/>
                    <a:pt x="1977281" y="350565"/>
                    <a:pt x="1976042" y="1045816"/>
                  </a:cubicBezTo>
                  <a:cubicBezTo>
                    <a:pt x="1974303" y="1052191"/>
                    <a:pt x="1970248" y="1054504"/>
                    <a:pt x="1968509" y="1060880"/>
                  </a:cubicBezTo>
                  <a:cubicBezTo>
                    <a:pt x="1970826" y="1064943"/>
                    <a:pt x="1965027" y="1111322"/>
                    <a:pt x="1944161" y="1187831"/>
                  </a:cubicBezTo>
                  <a:cubicBezTo>
                    <a:pt x="1926195" y="1241149"/>
                    <a:pt x="1900696" y="1309532"/>
                    <a:pt x="1863029" y="1384854"/>
                  </a:cubicBezTo>
                  <a:cubicBezTo>
                    <a:pt x="1830579" y="1441049"/>
                    <a:pt x="1794072" y="1499557"/>
                    <a:pt x="1748877" y="1552252"/>
                  </a:cubicBezTo>
                  <a:cubicBezTo>
                    <a:pt x="1678186" y="1635640"/>
                    <a:pt x="1588377" y="1713778"/>
                    <a:pt x="1468443" y="1776792"/>
                  </a:cubicBezTo>
                  <a:cubicBezTo>
                    <a:pt x="1350826" y="1843869"/>
                    <a:pt x="1200767" y="1891758"/>
                    <a:pt x="1015372" y="1905960"/>
                  </a:cubicBezTo>
                  <a:cubicBezTo>
                    <a:pt x="1008999" y="1904211"/>
                    <a:pt x="952801" y="1909340"/>
                    <a:pt x="873429" y="1911533"/>
                  </a:cubicBezTo>
                  <a:cubicBezTo>
                    <a:pt x="802169" y="1909100"/>
                    <a:pt x="707734" y="1903731"/>
                    <a:pt x="615039" y="1891987"/>
                  </a:cubicBezTo>
                  <a:cubicBezTo>
                    <a:pt x="566952" y="1892490"/>
                    <a:pt x="518287" y="1882555"/>
                    <a:pt x="475995" y="1874370"/>
                  </a:cubicBezTo>
                  <a:cubicBezTo>
                    <a:pt x="433703" y="1866184"/>
                    <a:pt x="389094" y="1853936"/>
                    <a:pt x="354914" y="1841125"/>
                  </a:cubicBezTo>
                  <a:cubicBezTo>
                    <a:pt x="327106" y="1830064"/>
                    <a:pt x="292343" y="1844505"/>
                    <a:pt x="281332" y="1872321"/>
                  </a:cubicBezTo>
                  <a:cubicBezTo>
                    <a:pt x="274377" y="1897823"/>
                    <a:pt x="288857" y="1932638"/>
                    <a:pt x="316665" y="1943700"/>
                  </a:cubicBezTo>
                  <a:cubicBezTo>
                    <a:pt x="357218" y="1958261"/>
                    <a:pt x="405883" y="1968196"/>
                    <a:pt x="454547" y="1978131"/>
                  </a:cubicBezTo>
                  <a:cubicBezTo>
                    <a:pt x="528703" y="1995064"/>
                    <a:pt x="604597" y="2005623"/>
                    <a:pt x="675858" y="2008055"/>
                  </a:cubicBezTo>
                  <a:cubicBezTo>
                    <a:pt x="749435" y="2014551"/>
                    <a:pt x="816640" y="2019297"/>
                    <a:pt x="875155" y="2018230"/>
                  </a:cubicBezTo>
                  <a:cubicBezTo>
                    <a:pt x="960900" y="2017787"/>
                    <a:pt x="1023470" y="2014407"/>
                    <a:pt x="1023470" y="2014407"/>
                  </a:cubicBezTo>
                  <a:cubicBezTo>
                    <a:pt x="1142239" y="2005898"/>
                    <a:pt x="1247685" y="1983451"/>
                    <a:pt x="1342123" y="1951129"/>
                  </a:cubicBezTo>
                  <a:cubicBezTo>
                    <a:pt x="1508405" y="1893987"/>
                    <a:pt x="1639928" y="1813596"/>
                    <a:pt x="1737270" y="1720393"/>
                  </a:cubicBezTo>
                  <a:cubicBezTo>
                    <a:pt x="1814912" y="1649194"/>
                    <a:pt x="1875753" y="1576808"/>
                    <a:pt x="1919792" y="1503236"/>
                  </a:cubicBezTo>
                  <a:cubicBezTo>
                    <a:pt x="1938915" y="1470794"/>
                    <a:pt x="1958037" y="1438352"/>
                    <a:pt x="1970787" y="1404161"/>
                  </a:cubicBezTo>
                  <a:lnTo>
                    <a:pt x="1968866" y="2993555"/>
                  </a:lnTo>
                  <a:cubicBezTo>
                    <a:pt x="1966541" y="3064874"/>
                    <a:pt x="1965376" y="3119379"/>
                    <a:pt x="1959577" y="3165759"/>
                  </a:cubicBezTo>
                  <a:cubicBezTo>
                    <a:pt x="1959572" y="3203449"/>
                    <a:pt x="1954934" y="3233015"/>
                    <a:pt x="1952035" y="3256205"/>
                  </a:cubicBezTo>
                  <a:cubicBezTo>
                    <a:pt x="1946818" y="3275332"/>
                    <a:pt x="1945658" y="3292146"/>
                    <a:pt x="1938124" y="3307210"/>
                  </a:cubicBezTo>
                  <a:cubicBezTo>
                    <a:pt x="1931169" y="3332713"/>
                    <a:pt x="1925953" y="3351840"/>
                    <a:pt x="1916681" y="3373280"/>
                  </a:cubicBezTo>
                  <a:cubicBezTo>
                    <a:pt x="1907409" y="3394721"/>
                    <a:pt x="1894081" y="3418474"/>
                    <a:pt x="1876697" y="3444540"/>
                  </a:cubicBezTo>
                  <a:cubicBezTo>
                    <a:pt x="1857574" y="3476982"/>
                    <a:pt x="1836135" y="3505360"/>
                    <a:pt x="1808323" y="3531990"/>
                  </a:cubicBezTo>
                  <a:cubicBezTo>
                    <a:pt x="1770660" y="3569621"/>
                    <a:pt x="1726047" y="3595064"/>
                    <a:pt x="1693601" y="3613568"/>
                  </a:cubicBezTo>
                  <a:cubicBezTo>
                    <a:pt x="1677378" y="3622820"/>
                    <a:pt x="1665211" y="3629759"/>
                    <a:pt x="1657099" y="3634385"/>
                  </a:cubicBezTo>
                  <a:cubicBezTo>
                    <a:pt x="1648988" y="3639011"/>
                    <a:pt x="1646671" y="3634948"/>
                    <a:pt x="1642615" y="3637261"/>
                  </a:cubicBezTo>
                  <a:cubicBezTo>
                    <a:pt x="1548176" y="3669583"/>
                    <a:pt x="1463010" y="3680465"/>
                    <a:pt x="1391749" y="3678032"/>
                  </a:cubicBezTo>
                  <a:cubicBezTo>
                    <a:pt x="1306005" y="3678476"/>
                    <a:pt x="1231849" y="3661542"/>
                    <a:pt x="1169861" y="3637669"/>
                  </a:cubicBezTo>
                  <a:cubicBezTo>
                    <a:pt x="1126991" y="3619045"/>
                    <a:pt x="1088176" y="3598108"/>
                    <a:pt x="1053418" y="3574859"/>
                  </a:cubicBezTo>
                  <a:cubicBezTo>
                    <a:pt x="1001280" y="3539984"/>
                    <a:pt x="963626" y="3502233"/>
                    <a:pt x="943351" y="3476107"/>
                  </a:cubicBezTo>
                  <a:cubicBezTo>
                    <a:pt x="930028" y="3462169"/>
                    <a:pt x="923077" y="3449981"/>
                    <a:pt x="916126" y="3437793"/>
                  </a:cubicBezTo>
                  <a:cubicBezTo>
                    <a:pt x="913809" y="3433731"/>
                    <a:pt x="909753" y="3436044"/>
                    <a:pt x="907436" y="3431981"/>
                  </a:cubicBezTo>
                  <a:cubicBezTo>
                    <a:pt x="907436" y="3431981"/>
                    <a:pt x="907436" y="3431981"/>
                    <a:pt x="893535" y="3407605"/>
                  </a:cubicBezTo>
                  <a:cubicBezTo>
                    <a:pt x="893535" y="3407605"/>
                    <a:pt x="893535" y="3407605"/>
                    <a:pt x="891218" y="3403542"/>
                  </a:cubicBezTo>
                  <a:cubicBezTo>
                    <a:pt x="888901" y="3399479"/>
                    <a:pt x="884267" y="3391354"/>
                    <a:pt x="881950" y="3387291"/>
                  </a:cubicBezTo>
                  <a:cubicBezTo>
                    <a:pt x="868048" y="3362915"/>
                    <a:pt x="849512" y="3330413"/>
                    <a:pt x="840827" y="3286910"/>
                  </a:cubicBezTo>
                  <a:cubicBezTo>
                    <a:pt x="823452" y="3237594"/>
                    <a:pt x="813610" y="3173214"/>
                    <a:pt x="811880" y="3104208"/>
                  </a:cubicBezTo>
                  <a:cubicBezTo>
                    <a:pt x="812467" y="3039264"/>
                    <a:pt x="825221" y="2967382"/>
                    <a:pt x="850721" y="2898999"/>
                  </a:cubicBezTo>
                  <a:cubicBezTo>
                    <a:pt x="876220" y="2830616"/>
                    <a:pt x="918521" y="2763419"/>
                    <a:pt x="983996" y="2699159"/>
                  </a:cubicBezTo>
                  <a:cubicBezTo>
                    <a:pt x="983996" y="2699159"/>
                    <a:pt x="1027453" y="2652839"/>
                    <a:pt x="1100456" y="2611206"/>
                  </a:cubicBezTo>
                  <a:cubicBezTo>
                    <a:pt x="1136958" y="2590389"/>
                    <a:pt x="1181571" y="2564946"/>
                    <a:pt x="1229080" y="2554004"/>
                  </a:cubicBezTo>
                  <a:cubicBezTo>
                    <a:pt x="1278327" y="2536686"/>
                    <a:pt x="1336264" y="2525181"/>
                    <a:pt x="1394779" y="2524115"/>
                  </a:cubicBezTo>
                  <a:cubicBezTo>
                    <a:pt x="1432437" y="2524175"/>
                    <a:pt x="1472412" y="2528297"/>
                    <a:pt x="1517021" y="2540545"/>
                  </a:cubicBezTo>
                  <a:cubicBezTo>
                    <a:pt x="1555257" y="2551044"/>
                    <a:pt x="1602183" y="2567354"/>
                    <a:pt x="1647370" y="2590041"/>
                  </a:cubicBezTo>
                  <a:cubicBezTo>
                    <a:pt x="1673439" y="2607478"/>
                    <a:pt x="1704146" y="2595350"/>
                    <a:pt x="1721530" y="2569283"/>
                  </a:cubicBezTo>
                  <a:cubicBezTo>
                    <a:pt x="1734858" y="2545530"/>
                    <a:pt x="1724434" y="2508403"/>
                    <a:pt x="1696626" y="2497341"/>
                  </a:cubicBezTo>
                  <a:cubicBezTo>
                    <a:pt x="1642749" y="2468842"/>
                    <a:pt x="1593506" y="2448469"/>
                    <a:pt x="1542525" y="2434471"/>
                  </a:cubicBezTo>
                  <a:cubicBezTo>
                    <a:pt x="1491543" y="2420474"/>
                    <a:pt x="1441140" y="2416914"/>
                    <a:pt x="1393053" y="2417418"/>
                  </a:cubicBezTo>
                  <a:cubicBezTo>
                    <a:pt x="1321793" y="2414985"/>
                    <a:pt x="1253427" y="2427053"/>
                    <a:pt x="1196068" y="2448997"/>
                  </a:cubicBezTo>
                  <a:cubicBezTo>
                    <a:pt x="1105685" y="2479006"/>
                    <a:pt x="1032682" y="2520640"/>
                    <a:pt x="982274" y="2554771"/>
                  </a:cubicBezTo>
                  <a:cubicBezTo>
                    <a:pt x="938239" y="2590652"/>
                    <a:pt x="910427" y="2617282"/>
                    <a:pt x="902315" y="2621908"/>
                  </a:cubicBezTo>
                  <a:cubicBezTo>
                    <a:pt x="826990" y="2697170"/>
                    <a:pt x="777156" y="2779431"/>
                    <a:pt x="748179" y="2860565"/>
                  </a:cubicBezTo>
                  <a:cubicBezTo>
                    <a:pt x="715146" y="2944013"/>
                    <a:pt x="702970" y="3026333"/>
                    <a:pt x="702962" y="3101715"/>
                  </a:cubicBezTo>
                  <a:cubicBezTo>
                    <a:pt x="705270" y="3181160"/>
                    <a:pt x="718007" y="3260041"/>
                    <a:pt x="735960" y="3319795"/>
                  </a:cubicBezTo>
                  <a:cubicBezTo>
                    <a:pt x="743489" y="3342422"/>
                    <a:pt x="751018" y="3365048"/>
                    <a:pt x="756230" y="3383612"/>
                  </a:cubicBezTo>
                  <a:cubicBezTo>
                    <a:pt x="737112" y="3378363"/>
                    <a:pt x="717994" y="3373114"/>
                    <a:pt x="702932" y="3365552"/>
                  </a:cubicBezTo>
                  <a:cubicBezTo>
                    <a:pt x="658323" y="3353304"/>
                    <a:pt x="621825" y="3336429"/>
                    <a:pt x="591122" y="3310867"/>
                  </a:cubicBezTo>
                  <a:cubicBezTo>
                    <a:pt x="534928" y="3278305"/>
                    <a:pt x="488585" y="3234742"/>
                    <a:pt x="452670" y="3190616"/>
                  </a:cubicBezTo>
                  <a:cubicBezTo>
                    <a:pt x="398798" y="3124426"/>
                    <a:pt x="367521" y="3050734"/>
                    <a:pt x="347829" y="2997355"/>
                  </a:cubicBezTo>
                  <a:cubicBezTo>
                    <a:pt x="337983" y="2970666"/>
                    <a:pt x="334510" y="2945727"/>
                    <a:pt x="329297" y="2927163"/>
                  </a:cubicBezTo>
                  <a:cubicBezTo>
                    <a:pt x="326980" y="2923100"/>
                    <a:pt x="326980" y="2923100"/>
                    <a:pt x="326980" y="2923100"/>
                  </a:cubicBezTo>
                  <a:cubicBezTo>
                    <a:pt x="331036" y="2920787"/>
                    <a:pt x="331036" y="2920787"/>
                    <a:pt x="328719" y="2916724"/>
                  </a:cubicBezTo>
                  <a:cubicBezTo>
                    <a:pt x="326402" y="2912662"/>
                    <a:pt x="326402" y="2912662"/>
                    <a:pt x="328141" y="2906286"/>
                  </a:cubicBezTo>
                  <a:cubicBezTo>
                    <a:pt x="325824" y="2902223"/>
                    <a:pt x="325824" y="2902223"/>
                    <a:pt x="323507" y="2898161"/>
                  </a:cubicBezTo>
                  <a:cubicBezTo>
                    <a:pt x="320612" y="2883659"/>
                    <a:pt x="317139" y="2858720"/>
                    <a:pt x="317721" y="2831467"/>
                  </a:cubicBezTo>
                  <a:cubicBezTo>
                    <a:pt x="320621" y="2808278"/>
                    <a:pt x="321203" y="2781025"/>
                    <a:pt x="328158" y="2755522"/>
                  </a:cubicBezTo>
                  <a:cubicBezTo>
                    <a:pt x="332797" y="2725957"/>
                    <a:pt x="343808" y="2698141"/>
                    <a:pt x="361191" y="2672075"/>
                  </a:cubicBezTo>
                  <a:cubicBezTo>
                    <a:pt x="374519" y="2648322"/>
                    <a:pt x="366412" y="2615257"/>
                    <a:pt x="340343" y="2597820"/>
                  </a:cubicBezTo>
                  <a:cubicBezTo>
                    <a:pt x="316591" y="2584445"/>
                    <a:pt x="283567" y="2592511"/>
                    <a:pt x="266183" y="2618577"/>
                  </a:cubicBezTo>
                  <a:cubicBezTo>
                    <a:pt x="243005" y="2653331"/>
                    <a:pt x="228516" y="2693899"/>
                    <a:pt x="222139" y="2729840"/>
                  </a:cubicBezTo>
                  <a:cubicBezTo>
                    <a:pt x="216923" y="2748967"/>
                    <a:pt x="215762" y="2765781"/>
                    <a:pt x="210546" y="2784908"/>
                  </a:cubicBezTo>
                  <a:cubicBezTo>
                    <a:pt x="205912" y="2776783"/>
                    <a:pt x="203595" y="2772720"/>
                    <a:pt x="198961" y="2764595"/>
                  </a:cubicBezTo>
                  <a:cubicBezTo>
                    <a:pt x="178687" y="2738469"/>
                    <a:pt x="162468" y="2710030"/>
                    <a:pt x="152622" y="2683340"/>
                  </a:cubicBezTo>
                  <a:cubicBezTo>
                    <a:pt x="133508" y="2640400"/>
                    <a:pt x="118450" y="2595147"/>
                    <a:pt x="112082" y="2555707"/>
                  </a:cubicBezTo>
                  <a:cubicBezTo>
                    <a:pt x="105713" y="2516266"/>
                    <a:pt x="103401" y="2474512"/>
                    <a:pt x="101666" y="2443197"/>
                  </a:cubicBezTo>
                  <a:cubicBezTo>
                    <a:pt x="130052" y="2464697"/>
                    <a:pt x="156121" y="2482134"/>
                    <a:pt x="192619" y="2499009"/>
                  </a:cubicBezTo>
                  <a:cubicBezTo>
                    <a:pt x="250551" y="2525194"/>
                    <a:pt x="318334" y="2540378"/>
                    <a:pt x="400023" y="2542248"/>
                  </a:cubicBezTo>
                  <a:cubicBezTo>
                    <a:pt x="458538" y="2541181"/>
                    <a:pt x="525165" y="2535489"/>
                    <a:pt x="603380" y="2512419"/>
                  </a:cubicBezTo>
                  <a:cubicBezTo>
                    <a:pt x="675223" y="2487599"/>
                    <a:pt x="759233" y="2455840"/>
                    <a:pt x="848460" y="2404954"/>
                  </a:cubicBezTo>
                  <a:cubicBezTo>
                    <a:pt x="852516" y="2402641"/>
                    <a:pt x="856572" y="2400328"/>
                    <a:pt x="854255" y="2396266"/>
                  </a:cubicBezTo>
                  <a:cubicBezTo>
                    <a:pt x="872212" y="2418329"/>
                    <a:pt x="889592" y="2429954"/>
                    <a:pt x="902915" y="2443892"/>
                  </a:cubicBezTo>
                  <a:cubicBezTo>
                    <a:pt x="917977" y="2451454"/>
                    <a:pt x="928984" y="2461329"/>
                    <a:pt x="933040" y="2459016"/>
                  </a:cubicBezTo>
                  <a:cubicBezTo>
                    <a:pt x="950419" y="2470641"/>
                    <a:pt x="973015" y="2463138"/>
                    <a:pt x="978231" y="2444011"/>
                  </a:cubicBezTo>
                  <a:cubicBezTo>
                    <a:pt x="989820" y="2426634"/>
                    <a:pt x="982291" y="2404008"/>
                    <a:pt x="967229" y="2396445"/>
                  </a:cubicBezTo>
                  <a:cubicBezTo>
                    <a:pt x="967229" y="2396445"/>
                    <a:pt x="958539" y="2390633"/>
                    <a:pt x="949850" y="2384820"/>
                  </a:cubicBezTo>
                  <a:cubicBezTo>
                    <a:pt x="932470" y="2373196"/>
                    <a:pt x="912774" y="2357508"/>
                    <a:pt x="896555" y="2329069"/>
                  </a:cubicBezTo>
                  <a:cubicBezTo>
                    <a:pt x="889604" y="2316881"/>
                    <a:pt x="880337" y="2300630"/>
                    <a:pt x="877442" y="2286129"/>
                  </a:cubicBezTo>
                  <a:cubicBezTo>
                    <a:pt x="868174" y="2269878"/>
                    <a:pt x="869334" y="2253064"/>
                    <a:pt x="868178" y="2232187"/>
                  </a:cubicBezTo>
                  <a:cubicBezTo>
                    <a:pt x="867600" y="2221749"/>
                    <a:pt x="867022" y="2211311"/>
                    <a:pt x="870499" y="2198559"/>
                  </a:cubicBezTo>
                  <a:cubicBezTo>
                    <a:pt x="875716" y="2179432"/>
                    <a:pt x="860075" y="2161432"/>
                    <a:pt x="840957" y="2156182"/>
                  </a:cubicBezTo>
                  <a:cubicBezTo>
                    <a:pt x="821839" y="2150933"/>
                    <a:pt x="803877" y="2166561"/>
                    <a:pt x="798661" y="2185688"/>
                  </a:cubicBezTo>
                  <a:cubicBezTo>
                    <a:pt x="797500" y="2202502"/>
                    <a:pt x="794022" y="2215253"/>
                    <a:pt x="792862" y="2232068"/>
                  </a:cubicBezTo>
                  <a:cubicBezTo>
                    <a:pt x="796335" y="2257007"/>
                    <a:pt x="799808" y="2281947"/>
                    <a:pt x="807337" y="2304573"/>
                  </a:cubicBezTo>
                  <a:cubicBezTo>
                    <a:pt x="803282" y="2306886"/>
                    <a:pt x="796909" y="2305136"/>
                    <a:pt x="792853" y="2307449"/>
                  </a:cubicBezTo>
                  <a:cubicBezTo>
                    <a:pt x="707682" y="2356022"/>
                    <a:pt x="634101" y="2387218"/>
                    <a:pt x="570369" y="2407411"/>
                  </a:cubicBezTo>
                  <a:cubicBezTo>
                    <a:pt x="506638" y="2427605"/>
                    <a:pt x="446384" y="2435048"/>
                    <a:pt x="398297" y="2435551"/>
                  </a:cubicBezTo>
                  <a:cubicBezTo>
                    <a:pt x="337465" y="2432555"/>
                    <a:pt x="292856" y="2420307"/>
                    <a:pt x="252303" y="2405746"/>
                  </a:cubicBezTo>
                  <a:cubicBezTo>
                    <a:pt x="224495" y="2394684"/>
                    <a:pt x="198426" y="2377247"/>
                    <a:pt x="174674" y="2363872"/>
                  </a:cubicBezTo>
                  <a:cubicBezTo>
                    <a:pt x="143971" y="2338310"/>
                    <a:pt x="119641" y="2314497"/>
                    <a:pt x="104001" y="2296496"/>
                  </a:cubicBezTo>
                  <a:cubicBezTo>
                    <a:pt x="97050" y="2284308"/>
                    <a:pt x="92416" y="2276183"/>
                    <a:pt x="90099" y="2272120"/>
                  </a:cubicBezTo>
                  <a:cubicBezTo>
                    <a:pt x="87782" y="2268057"/>
                    <a:pt x="87782" y="2268057"/>
                    <a:pt x="87782" y="2268057"/>
                  </a:cubicBezTo>
                  <a:cubicBezTo>
                    <a:pt x="87782" y="2268057"/>
                    <a:pt x="85465" y="2263995"/>
                    <a:pt x="85465" y="2263995"/>
                  </a:cubicBezTo>
                  <a:cubicBezTo>
                    <a:pt x="83148" y="2259932"/>
                    <a:pt x="78514" y="2251806"/>
                    <a:pt x="72141" y="2250057"/>
                  </a:cubicBezTo>
                  <a:cubicBezTo>
                    <a:pt x="48972" y="2209430"/>
                    <a:pt x="30436" y="2176928"/>
                    <a:pt x="22329" y="2143863"/>
                  </a:cubicBezTo>
                  <a:cubicBezTo>
                    <a:pt x="4954" y="2094547"/>
                    <a:pt x="-1414" y="2055107"/>
                    <a:pt x="329" y="2011040"/>
                  </a:cubicBezTo>
                  <a:cubicBezTo>
                    <a:pt x="-1984" y="1969287"/>
                    <a:pt x="8449" y="1931032"/>
                    <a:pt x="14826" y="1895091"/>
                  </a:cubicBezTo>
                  <a:cubicBezTo>
                    <a:pt x="32792" y="1841773"/>
                    <a:pt x="57709" y="1800642"/>
                    <a:pt x="79149" y="1772263"/>
                  </a:cubicBezTo>
                  <a:cubicBezTo>
                    <a:pt x="86682" y="1757199"/>
                    <a:pt x="96532" y="1746197"/>
                    <a:pt x="102327" y="1737508"/>
                  </a:cubicBezTo>
                  <a:cubicBezTo>
                    <a:pt x="106382" y="1735195"/>
                    <a:pt x="108121" y="1728820"/>
                    <a:pt x="108121" y="1728820"/>
                  </a:cubicBezTo>
                  <a:cubicBezTo>
                    <a:pt x="108121" y="1728820"/>
                    <a:pt x="108121" y="1728820"/>
                    <a:pt x="112177" y="1726507"/>
                  </a:cubicBezTo>
                  <a:cubicBezTo>
                    <a:pt x="112177" y="1726507"/>
                    <a:pt x="112177" y="1726507"/>
                    <a:pt x="135933" y="1702190"/>
                  </a:cubicBezTo>
                  <a:cubicBezTo>
                    <a:pt x="135933" y="1702190"/>
                    <a:pt x="135933" y="1702190"/>
                    <a:pt x="121454" y="1667376"/>
                  </a:cubicBezTo>
                  <a:cubicBezTo>
                    <a:pt x="97706" y="1616310"/>
                    <a:pt x="90759" y="1566431"/>
                    <a:pt x="90185" y="1518302"/>
                  </a:cubicBezTo>
                  <a:cubicBezTo>
                    <a:pt x="91350" y="1463797"/>
                    <a:pt x="103522" y="1419167"/>
                    <a:pt x="119749" y="1372224"/>
                  </a:cubicBezTo>
                  <a:cubicBezTo>
                    <a:pt x="134816" y="1342095"/>
                    <a:pt x="149883" y="1311967"/>
                    <a:pt x="171322" y="1283587"/>
                  </a:cubicBezTo>
                  <a:cubicBezTo>
                    <a:pt x="188706" y="1257521"/>
                    <a:pt x="212462" y="1233205"/>
                    <a:pt x="228107" y="1213515"/>
                  </a:cubicBezTo>
                  <a:cubicBezTo>
                    <a:pt x="239692" y="1233828"/>
                    <a:pt x="253594" y="1258204"/>
                    <a:pt x="267495" y="1282581"/>
                  </a:cubicBezTo>
                  <a:cubicBezTo>
                    <a:pt x="287770" y="1308707"/>
                    <a:pt x="308044" y="1334833"/>
                    <a:pt x="334691" y="1362708"/>
                  </a:cubicBezTo>
                  <a:cubicBezTo>
                    <a:pt x="376401" y="1398146"/>
                    <a:pt x="430856" y="1437083"/>
                    <a:pt x="499217" y="1462706"/>
                  </a:cubicBezTo>
                  <a:cubicBezTo>
                    <a:pt x="567578" y="1488328"/>
                    <a:pt x="645789" y="1502949"/>
                    <a:pt x="744279" y="1506005"/>
                  </a:cubicBezTo>
                  <a:cubicBezTo>
                    <a:pt x="809167" y="1506688"/>
                    <a:pt x="883905" y="1496370"/>
                    <a:pt x="966755" y="1481425"/>
                  </a:cubicBezTo>
                  <a:cubicBezTo>
                    <a:pt x="966755" y="1481425"/>
                    <a:pt x="969072" y="1485488"/>
                    <a:pt x="969072" y="1485488"/>
                  </a:cubicBezTo>
                  <a:cubicBezTo>
                    <a:pt x="1000353" y="1521489"/>
                    <a:pt x="1043801" y="1550551"/>
                    <a:pt x="1095361" y="1574987"/>
                  </a:cubicBezTo>
                  <a:cubicBezTo>
                    <a:pt x="1146921" y="1599423"/>
                    <a:pt x="1210648" y="1616920"/>
                    <a:pt x="1284225" y="1623416"/>
                  </a:cubicBezTo>
                  <a:cubicBezTo>
                    <a:pt x="1313772" y="1628102"/>
                    <a:pt x="1339845" y="1607848"/>
                    <a:pt x="1344483" y="1578283"/>
                  </a:cubicBezTo>
                  <a:cubicBezTo>
                    <a:pt x="1349122" y="1548717"/>
                    <a:pt x="1328847" y="1522591"/>
                    <a:pt x="1299301" y="1517905"/>
                  </a:cubicBezTo>
                  <a:cubicBezTo>
                    <a:pt x="1223406" y="1507347"/>
                    <a:pt x="1163735" y="1487537"/>
                    <a:pt x="1118548" y="1464851"/>
                  </a:cubicBezTo>
                  <a:cubicBezTo>
                    <a:pt x="1086106" y="1445663"/>
                    <a:pt x="1060037" y="1428226"/>
                    <a:pt x="1039763" y="1402100"/>
                  </a:cubicBezTo>
                  <a:cubicBezTo>
                    <a:pt x="1026439" y="1388162"/>
                    <a:pt x="1014854" y="1367849"/>
                    <a:pt x="1005587" y="1351598"/>
                  </a:cubicBezTo>
                  <a:cubicBezTo>
                    <a:pt x="989368" y="1323159"/>
                    <a:pt x="979522" y="1296470"/>
                    <a:pt x="973732" y="1267468"/>
                  </a:cubicBezTo>
                  <a:cubicBezTo>
                    <a:pt x="967941" y="1238465"/>
                    <a:pt x="964468" y="1213526"/>
                    <a:pt x="967367" y="1190336"/>
                  </a:cubicBezTo>
                  <a:cubicBezTo>
                    <a:pt x="967950" y="1163084"/>
                    <a:pt x="968533" y="1135831"/>
                    <a:pt x="972010" y="1123080"/>
                  </a:cubicBezTo>
                  <a:cubicBezTo>
                    <a:pt x="971432" y="1112641"/>
                    <a:pt x="973171" y="1106266"/>
                    <a:pt x="977226" y="1103953"/>
                  </a:cubicBezTo>
                  <a:cubicBezTo>
                    <a:pt x="974910" y="1099890"/>
                    <a:pt x="974910" y="1099890"/>
                    <a:pt x="974910" y="1099890"/>
                  </a:cubicBezTo>
                  <a:cubicBezTo>
                    <a:pt x="978965" y="1097577"/>
                    <a:pt x="978965" y="1097577"/>
                    <a:pt x="978965" y="1097577"/>
                  </a:cubicBezTo>
                  <a:cubicBezTo>
                    <a:pt x="976648" y="1093514"/>
                    <a:pt x="976648" y="1093514"/>
                    <a:pt x="980704" y="1091201"/>
                  </a:cubicBezTo>
                  <a:cubicBezTo>
                    <a:pt x="1005617" y="1087762"/>
                    <a:pt x="1032268" y="1077946"/>
                    <a:pt x="1050808" y="1072757"/>
                  </a:cubicBezTo>
                  <a:cubicBezTo>
                    <a:pt x="1077460" y="1062942"/>
                    <a:pt x="1096000" y="1057753"/>
                    <a:pt x="1096000" y="1057753"/>
                  </a:cubicBezTo>
                  <a:cubicBezTo>
                    <a:pt x="1116279" y="1046188"/>
                    <a:pt x="1119178" y="1022998"/>
                    <a:pt x="1109910" y="1006747"/>
                  </a:cubicBezTo>
                  <a:cubicBezTo>
                    <a:pt x="1100642" y="990496"/>
                    <a:pt x="1079207" y="981184"/>
                    <a:pt x="1062984" y="990436"/>
                  </a:cubicBezTo>
                  <a:cubicBezTo>
                    <a:pt x="1062984" y="990436"/>
                    <a:pt x="1046761" y="999689"/>
                    <a:pt x="1028221" y="1004878"/>
                  </a:cubicBezTo>
                  <a:cubicBezTo>
                    <a:pt x="1005625" y="1012380"/>
                    <a:pt x="976657" y="1018132"/>
                    <a:pt x="945372" y="1019822"/>
                  </a:cubicBezTo>
                  <a:cubicBezTo>
                    <a:pt x="924515" y="1020949"/>
                    <a:pt x="905397" y="1015700"/>
                    <a:pt x="883961" y="1006388"/>
                  </a:cubicBezTo>
                  <a:cubicBezTo>
                    <a:pt x="864843" y="1001139"/>
                    <a:pt x="845147" y="985451"/>
                    <a:pt x="823134" y="965701"/>
                  </a:cubicBezTo>
                  <a:cubicBezTo>
                    <a:pt x="809810" y="951763"/>
                    <a:pt x="788953" y="952889"/>
                    <a:pt x="772730" y="962142"/>
                  </a:cubicBezTo>
                  <a:cubicBezTo>
                    <a:pt x="758824" y="975456"/>
                    <a:pt x="758242" y="1002709"/>
                    <a:pt x="771565" y="1016647"/>
                  </a:cubicBezTo>
                  <a:cubicBezTo>
                    <a:pt x="798212" y="1044522"/>
                    <a:pt x="826598" y="1066022"/>
                    <a:pt x="858462" y="1074771"/>
                  </a:cubicBezTo>
                  <a:cubicBezTo>
                    <a:pt x="860779" y="1078833"/>
                    <a:pt x="864835" y="1076521"/>
                    <a:pt x="867152" y="1080583"/>
                  </a:cubicBezTo>
                  <a:cubicBezTo>
                    <a:pt x="869469" y="1084646"/>
                    <a:pt x="863674" y="1093335"/>
                    <a:pt x="864252" y="1103773"/>
                  </a:cubicBezTo>
                  <a:cubicBezTo>
                    <a:pt x="861353" y="1126963"/>
                    <a:pt x="856714" y="1156528"/>
                    <a:pt x="858449" y="1187843"/>
                  </a:cubicBezTo>
                  <a:cubicBezTo>
                    <a:pt x="858445" y="1225534"/>
                    <a:pt x="860757" y="1267288"/>
                    <a:pt x="869443" y="1310791"/>
                  </a:cubicBezTo>
                  <a:cubicBezTo>
                    <a:pt x="876972" y="1333418"/>
                    <a:pt x="886818" y="1360107"/>
                    <a:pt x="900719" y="1384483"/>
                  </a:cubicBezTo>
                  <a:cubicBezTo>
                    <a:pt x="840465" y="1391926"/>
                    <a:pt x="788323" y="1394742"/>
                    <a:pt x="746609" y="1396995"/>
                  </a:cubicBezTo>
                  <a:cubicBezTo>
                    <a:pt x="692150" y="1395749"/>
                    <a:pt x="649858" y="1387564"/>
                    <a:pt x="609883" y="1383441"/>
                  </a:cubicBezTo>
                  <a:cubicBezTo>
                    <a:pt x="542100" y="1368257"/>
                    <a:pt x="490540" y="1343821"/>
                    <a:pt x="447092" y="1314759"/>
                  </a:cubicBezTo>
                  <a:cubicBezTo>
                    <a:pt x="418706" y="1293259"/>
                    <a:pt x="394376" y="1269446"/>
                    <a:pt x="376418" y="1247382"/>
                  </a:cubicBezTo>
                  <a:cubicBezTo>
                    <a:pt x="345137" y="1211381"/>
                    <a:pt x="330657" y="1176567"/>
                    <a:pt x="320811" y="1149877"/>
                  </a:cubicBezTo>
                  <a:cubicBezTo>
                    <a:pt x="313860" y="1137689"/>
                    <a:pt x="313282" y="1127251"/>
                    <a:pt x="308648" y="1119126"/>
                  </a:cubicBezTo>
                  <a:cubicBezTo>
                    <a:pt x="308648" y="1119126"/>
                    <a:pt x="308648" y="1119126"/>
                    <a:pt x="308070" y="1108687"/>
                  </a:cubicBezTo>
                  <a:cubicBezTo>
                    <a:pt x="299385" y="1065184"/>
                    <a:pt x="295333" y="1029806"/>
                    <a:pt x="297655" y="996178"/>
                  </a:cubicBezTo>
                  <a:cubicBezTo>
                    <a:pt x="295342" y="954424"/>
                    <a:pt x="301719" y="918483"/>
                    <a:pt x="312730" y="890667"/>
                  </a:cubicBezTo>
                  <a:cubicBezTo>
                    <a:pt x="317368" y="861102"/>
                    <a:pt x="330696" y="837349"/>
                    <a:pt x="344024" y="813595"/>
                  </a:cubicBezTo>
                  <a:cubicBezTo>
                    <a:pt x="364885" y="774778"/>
                    <a:pt x="394436" y="741773"/>
                    <a:pt x="424565" y="719206"/>
                  </a:cubicBezTo>
                  <a:cubicBezTo>
                    <a:pt x="450639" y="698953"/>
                    <a:pt x="472656" y="681012"/>
                    <a:pt x="496991" y="667134"/>
                  </a:cubicBezTo>
                  <a:cubicBezTo>
                    <a:pt x="533493" y="646317"/>
                    <a:pt x="568256" y="631876"/>
                    <a:pt x="594907" y="622061"/>
                  </a:cubicBezTo>
                  <a:cubicBezTo>
                    <a:pt x="609391" y="619184"/>
                    <a:pt x="617503" y="614558"/>
                    <a:pt x="623876" y="616308"/>
                  </a:cubicBezTo>
                  <a:cubicBezTo>
                    <a:pt x="627931" y="613995"/>
                    <a:pt x="631987" y="611682"/>
                    <a:pt x="631987" y="611682"/>
                  </a:cubicBezTo>
                  <a:cubicBezTo>
                    <a:pt x="631987" y="611682"/>
                    <a:pt x="631987" y="611682"/>
                    <a:pt x="660955" y="605930"/>
                  </a:cubicBezTo>
                  <a:cubicBezTo>
                    <a:pt x="660955" y="605930"/>
                    <a:pt x="660955" y="605930"/>
                    <a:pt x="671966" y="578114"/>
                  </a:cubicBezTo>
                  <a:cubicBezTo>
                    <a:pt x="684716" y="543922"/>
                    <a:pt x="703839" y="511481"/>
                    <a:pt x="721222" y="485414"/>
                  </a:cubicBezTo>
                  <a:cubicBezTo>
                    <a:pt x="758307" y="437345"/>
                    <a:pt x="795969" y="399714"/>
                    <a:pt x="840582" y="374271"/>
                  </a:cubicBezTo>
                  <a:cubicBezTo>
                    <a:pt x="874767" y="349392"/>
                    <a:pt x="907213" y="330888"/>
                    <a:pt x="944293" y="320509"/>
                  </a:cubicBezTo>
                  <a:cubicBezTo>
                    <a:pt x="991224" y="299129"/>
                    <a:pt x="1045105" y="289937"/>
                    <a:pt x="1092613" y="278995"/>
                  </a:cubicBezTo>
                  <a:cubicBezTo>
                    <a:pt x="1123898" y="277305"/>
                    <a:pt x="1148811" y="273866"/>
                    <a:pt x="1171985" y="276802"/>
                  </a:cubicBezTo>
                  <a:cubicBezTo>
                    <a:pt x="1169086" y="299992"/>
                    <a:pt x="1168503" y="327244"/>
                    <a:pt x="1163865" y="356810"/>
                  </a:cubicBezTo>
                  <a:cubicBezTo>
                    <a:pt x="1165599" y="388125"/>
                    <a:pt x="1169651" y="423503"/>
                    <a:pt x="1173702" y="458881"/>
                  </a:cubicBezTo>
                  <a:cubicBezTo>
                    <a:pt x="1184126" y="496008"/>
                    <a:pt x="1196867" y="537199"/>
                    <a:pt x="1213664" y="576076"/>
                  </a:cubicBezTo>
                  <a:cubicBezTo>
                    <a:pt x="1229883" y="604515"/>
                    <a:pt x="1248419" y="637017"/>
                    <a:pt x="1268693" y="663143"/>
                  </a:cubicBezTo>
                  <a:cubicBezTo>
                    <a:pt x="1304608" y="707269"/>
                    <a:pt x="1350373" y="740394"/>
                    <a:pt x="1406567" y="772955"/>
                  </a:cubicBezTo>
                  <a:cubicBezTo>
                    <a:pt x="1460444" y="801454"/>
                    <a:pt x="1526488" y="823014"/>
                    <a:pt x="1606438" y="831259"/>
                  </a:cubicBezTo>
                  <a:cubicBezTo>
                    <a:pt x="1612811" y="833009"/>
                    <a:pt x="1616867" y="830696"/>
                    <a:pt x="1623239" y="832446"/>
                  </a:cubicBezTo>
                  <a:cubicBezTo>
                    <a:pt x="1630768" y="855072"/>
                    <a:pt x="1640614" y="881762"/>
                    <a:pt x="1649882" y="898012"/>
                  </a:cubicBezTo>
                  <a:cubicBezTo>
                    <a:pt x="1659150" y="914263"/>
                    <a:pt x="1670157" y="924138"/>
                    <a:pt x="1670157" y="924138"/>
                  </a:cubicBezTo>
                  <a:cubicBezTo>
                    <a:pt x="1681741" y="944452"/>
                    <a:pt x="1704915" y="947388"/>
                    <a:pt x="1718821" y="934073"/>
                  </a:cubicBezTo>
                  <a:cubicBezTo>
                    <a:pt x="1736783" y="918445"/>
                    <a:pt x="1742000" y="899318"/>
                    <a:pt x="1726359" y="881318"/>
                  </a:cubicBezTo>
                  <a:cubicBezTo>
                    <a:pt x="1726359" y="881318"/>
                    <a:pt x="1713035" y="867380"/>
                    <a:pt x="1705506" y="844753"/>
                  </a:cubicBezTo>
                  <a:cubicBezTo>
                    <a:pt x="1698555" y="832565"/>
                    <a:pt x="1695660" y="818064"/>
                    <a:pt x="1688710" y="805876"/>
                  </a:cubicBezTo>
                  <a:cubicBezTo>
                    <a:pt x="1685814" y="791375"/>
                    <a:pt x="1684658" y="770498"/>
                    <a:pt x="1681763" y="755997"/>
                  </a:cubicBezTo>
                  <a:cubicBezTo>
                    <a:pt x="1685240" y="743246"/>
                    <a:pt x="1686401" y="726432"/>
                    <a:pt x="1689879" y="713680"/>
                  </a:cubicBezTo>
                  <a:cubicBezTo>
                    <a:pt x="1697412" y="698616"/>
                    <a:pt x="1704945" y="683551"/>
                    <a:pt x="1712479" y="668487"/>
                  </a:cubicBezTo>
                  <a:cubicBezTo>
                    <a:pt x="1724068" y="651110"/>
                    <a:pt x="1722912" y="630233"/>
                    <a:pt x="1705532" y="618608"/>
                  </a:cubicBezTo>
                  <a:cubicBezTo>
                    <a:pt x="1692209" y="604670"/>
                    <a:pt x="1667296" y="608110"/>
                    <a:pt x="1655707" y="625487"/>
                  </a:cubicBezTo>
                  <a:cubicBezTo>
                    <a:pt x="1640062" y="645178"/>
                    <a:pt x="1626734" y="668931"/>
                    <a:pt x="1623835" y="692120"/>
                  </a:cubicBezTo>
                  <a:cubicBezTo>
                    <a:pt x="1618040" y="700809"/>
                    <a:pt x="1614562" y="713561"/>
                    <a:pt x="1615141" y="723999"/>
                  </a:cubicBezTo>
                  <a:cubicBezTo>
                    <a:pt x="1556048" y="714627"/>
                    <a:pt x="1509122" y="698317"/>
                    <a:pt x="1472624" y="681443"/>
                  </a:cubicBezTo>
                  <a:cubicBezTo>
                    <a:pt x="1438444" y="668631"/>
                    <a:pt x="1416430" y="648881"/>
                    <a:pt x="1390361" y="631444"/>
                  </a:cubicBezTo>
                  <a:cubicBezTo>
                    <a:pt x="1359658" y="605881"/>
                    <a:pt x="1334750" y="571630"/>
                    <a:pt x="1316214" y="539128"/>
                  </a:cubicBezTo>
                  <a:cubicBezTo>
                    <a:pt x="1297679" y="506626"/>
                    <a:pt x="1289572" y="473561"/>
                    <a:pt x="1281464" y="440497"/>
                  </a:cubicBezTo>
                  <a:cubicBezTo>
                    <a:pt x="1275674" y="411494"/>
                    <a:pt x="1276257" y="384242"/>
                    <a:pt x="1272783" y="359302"/>
                  </a:cubicBezTo>
                  <a:cubicBezTo>
                    <a:pt x="1272788" y="321611"/>
                    <a:pt x="1277426" y="292046"/>
                    <a:pt x="1282642" y="272919"/>
                  </a:cubicBezTo>
                  <a:cubicBezTo>
                    <a:pt x="1286120" y="260167"/>
                    <a:pt x="1287859" y="253792"/>
                    <a:pt x="1289598" y="247416"/>
                  </a:cubicBezTo>
                  <a:cubicBezTo>
                    <a:pt x="1291336" y="241040"/>
                    <a:pt x="1291336" y="241040"/>
                    <a:pt x="1291336" y="241040"/>
                  </a:cubicBezTo>
                  <a:cubicBezTo>
                    <a:pt x="1305825" y="200473"/>
                    <a:pt x="1324947" y="168031"/>
                    <a:pt x="1346387" y="139652"/>
                  </a:cubicBezTo>
                  <a:cubicBezTo>
                    <a:pt x="1379415" y="93896"/>
                    <a:pt x="1419395" y="60327"/>
                    <a:pt x="1470381" y="36634"/>
                  </a:cubicBezTo>
                  <a:cubicBezTo>
                    <a:pt x="1521367" y="12941"/>
                    <a:pt x="1576987" y="-2627"/>
                    <a:pt x="1637819" y="369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100000"/>
                  </a:schemeClr>
                </a:gs>
                <a:gs pos="100000">
                  <a:schemeClr val="accent3">
                    <a:lumMod val="20000"/>
                    <a:lumOff val="80000"/>
                  </a:schemeClr>
                </a:gs>
                <a:gs pos="65385">
                  <a:schemeClr val="accent3">
                    <a:lumMod val="100000"/>
                  </a:schemeClr>
                </a:gs>
                <a:gs pos="65485">
                  <a:schemeClr val="accent3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5" name="CustomText1"/>
            <p:cNvSpPr/>
            <p:nvPr/>
          </p:nvSpPr>
          <p:spPr bwMode="auto">
            <a:xfrm>
              <a:off x="4830559" y="5402263"/>
              <a:ext cx="2530883" cy="713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tx2">
                      <a:lumMod val="60000"/>
                      <a:lumOff val="40000"/>
                    </a:schemeClr>
                  </a:solidFill>
                </a:rPr>
                <a:t>Copy paste fonts. Choose the only option to retain text……</a:t>
              </a:r>
              <a:endParaRPr lang="en-US" altLang="zh-CN" sz="1100" dirty="0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6" name="CustomText2"/>
            <p:cNvSpPr txBox="1"/>
            <p:nvPr/>
          </p:nvSpPr>
          <p:spPr bwMode="auto">
            <a:xfrm>
              <a:off x="4830559" y="4914608"/>
              <a:ext cx="2530883" cy="6003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/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3200" b="1" dirty="0">
                  <a:solidFill>
                    <a:schemeClr val="tx2">
                      <a:lumMod val="60000"/>
                      <a:lumOff val="40000"/>
                    </a:schemeClr>
                  </a:solidFill>
                </a:rPr>
                <a:t>TEXT HERE</a:t>
              </a:r>
              <a:endParaRPr lang="zh-CN" altLang="en-US" sz="3200" b="1" dirty="0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7" name="ValueBack1"/>
            <p:cNvSpPr/>
            <p:nvPr/>
          </p:nvSpPr>
          <p:spPr>
            <a:xfrm>
              <a:off x="3148184" y="2570833"/>
              <a:ext cx="478835" cy="60347"/>
            </a:xfrm>
            <a:prstGeom prst="rect">
              <a:avLst/>
            </a:prstGeom>
            <a:solidFill>
              <a:schemeClr val="accent1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ValueBack2"/>
            <p:cNvSpPr/>
            <p:nvPr/>
          </p:nvSpPr>
          <p:spPr>
            <a:xfrm>
              <a:off x="8309730" y="3316298"/>
              <a:ext cx="478835" cy="60347"/>
            </a:xfrm>
            <a:prstGeom prst="rect">
              <a:avLst/>
            </a:prstGeom>
            <a:solidFill>
              <a:schemeClr val="accent3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CustomText"/>
            <p:cNvSpPr/>
            <p:nvPr/>
          </p:nvSpPr>
          <p:spPr>
            <a:xfrm>
              <a:off x="8222035" y="3370024"/>
              <a:ext cx="113307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200" dirty="0">
                  <a:solidFill>
                    <a:srgbClr val="2C496B"/>
                  </a:solidFill>
                </a:rPr>
                <a:t>Category</a:t>
              </a:r>
              <a:endParaRPr lang="zh-CN" altLang="en-US" sz="1200" dirty="0">
                <a:solidFill>
                  <a:srgbClr val="2C496B"/>
                </a:solidFill>
              </a:endParaRPr>
            </a:p>
          </p:txBody>
        </p:sp>
        <p:sp>
          <p:nvSpPr>
            <p:cNvPr id="10" name="CustomText"/>
            <p:cNvSpPr/>
            <p:nvPr/>
          </p:nvSpPr>
          <p:spPr>
            <a:xfrm>
              <a:off x="3060489" y="2588211"/>
              <a:ext cx="909477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200" dirty="0">
                  <a:solidFill>
                    <a:srgbClr val="2C496B"/>
                  </a:solidFill>
                </a:rPr>
                <a:t>Category</a:t>
              </a:r>
              <a:endParaRPr lang="zh-CN" altLang="en-US" sz="1200" dirty="0">
                <a:solidFill>
                  <a:srgbClr val="2C496B"/>
                </a:solidFill>
              </a:endParaRPr>
            </a:p>
          </p:txBody>
        </p:sp>
        <p:sp>
          <p:nvSpPr>
            <p:cNvPr id="11" name="CustomText2"/>
            <p:cNvSpPr/>
            <p:nvPr/>
          </p:nvSpPr>
          <p:spPr bwMode="auto">
            <a:xfrm>
              <a:off x="3060489" y="2790694"/>
              <a:ext cx="909477" cy="2354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sz="700" dirty="0">
                  <a:solidFill>
                    <a:schemeClr val="bg2">
                      <a:lumMod val="75000"/>
                    </a:schemeClr>
                  </a:solidFill>
                </a:rPr>
                <a:t>Text Here</a:t>
              </a:r>
              <a:endParaRPr lang="zh-CN" altLang="en-US" sz="700" dirty="0">
                <a:solidFill>
                  <a:schemeClr val="bg2">
                    <a:lumMod val="75000"/>
                  </a:schemeClr>
                </a:solidFill>
              </a:endParaRPr>
            </a:p>
            <a:p>
              <a:pPr>
                <a:spcBef>
                  <a:spcPct val="0"/>
                </a:spcBef>
              </a:pPr>
              <a:endParaRPr lang="zh-CN" altLang="en-US" sz="700" dirty="0">
                <a:solidFill>
                  <a:schemeClr val="bg2">
                    <a:lumMod val="75000"/>
                  </a:schemeClr>
                </a:solidFill>
              </a:endParaRPr>
            </a:p>
          </p:txBody>
        </p:sp>
        <p:sp>
          <p:nvSpPr>
            <p:cNvPr id="12" name="ValueText1"/>
            <p:cNvSpPr txBox="1"/>
            <p:nvPr/>
          </p:nvSpPr>
          <p:spPr>
            <a:xfrm>
              <a:off x="2603697" y="2573540"/>
              <a:ext cx="459060" cy="344292"/>
            </a:xfrm>
            <a:prstGeom prst="rect">
              <a:avLst/>
            </a:prstGeom>
            <a:noFill/>
          </p:spPr>
          <p:txBody>
            <a:bodyPr wrap="none" anchor="ctr" anchorCtr="0">
              <a:prstTxWarp prst="textPlain">
                <a:avLst/>
              </a:prstTxWarp>
              <a:normAutofit fontScale="32500" lnSpcReduction="20000"/>
            </a:bodyPr>
            <a:lstStyle/>
            <a:p>
              <a:r>
                <a:rPr lang="en-US" sz="6000" dirty="0">
                  <a:solidFill>
                    <a:schemeClr val="accent1">
                      <a:lumMod val="100000"/>
                    </a:schemeClr>
                  </a:solidFill>
                  <a:latin typeface="Impact" panose="020B0806030902050204" pitchFamily="34" charset="0"/>
                </a:rPr>
                <a:t>61%</a:t>
              </a:r>
              <a:endParaRPr lang="en-US" sz="6000" dirty="0">
                <a:solidFill>
                  <a:schemeClr val="accent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3" name="ValueText2"/>
            <p:cNvSpPr txBox="1"/>
            <p:nvPr/>
          </p:nvSpPr>
          <p:spPr>
            <a:xfrm>
              <a:off x="9065996" y="3326371"/>
              <a:ext cx="459060" cy="344292"/>
            </a:xfrm>
            <a:prstGeom prst="rect">
              <a:avLst/>
            </a:prstGeom>
            <a:noFill/>
          </p:spPr>
          <p:txBody>
            <a:bodyPr wrap="none" anchor="ctr" anchorCtr="0">
              <a:prstTxWarp prst="textPlain">
                <a:avLst/>
              </a:prstTxWarp>
              <a:normAutofit fontScale="32500" lnSpcReduction="20000"/>
            </a:bodyPr>
            <a:lstStyle/>
            <a:p>
              <a:r>
                <a:rPr lang="en-US" sz="6000">
                  <a:solidFill>
                    <a:schemeClr val="accent3">
                      <a:lumMod val="100000"/>
                    </a:schemeClr>
                  </a:solidFill>
                  <a:latin typeface="Impact" panose="020B0806030902050204" pitchFamily="34" charset="0"/>
                </a:rPr>
                <a:t>65%</a:t>
              </a:r>
              <a:endParaRPr lang="en-US" sz="6000" dirty="0">
                <a:solidFill>
                  <a:schemeClr val="accent3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</p:grpSp>
      <p:sp>
        <p:nvSpPr>
          <p:cNvPr id="16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17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4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单元测试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03cdf1aa-cf1c-4df9-b158-32d001988974" descr="jxgAAB+LCAAAAAAABADtWE1v2kAQ/S/b9IaQ15/ALZQS5ZAmCqiXioNjL2Zbf6D1IgVF/Peu1zaMsaF2IifQwAGxszP223lvZke8oCvqogHCqIOu+HpJxO9JYDM+orbH7OAucokv9h5YtCSMUxKjwa+XLEgFQT9tf0Uyr7Ww39GQBqtAmtFA6SrCZD8DE1akcUQcGtj+iHqUi2cLy238QJhDQp45crYiHZQtjH7XxIbW09Nvw+p10A2LVkt5hk0nh6YBaN8iP2IAWvao3FUHrvfzOXXIdEECIqPE1pSG/Dp0JwvbzQ8yZNRb8JDEcWa4f/pNHA7CBoYIlI+U7qt4IR7+ZSw+w7GiCJyVoI36oM0S6EeS5CxH/eg9oYFlYhWbSg4FF6AoimpZ+iEoFtQDZzT0yliQ8hVVR/dA9DCKfGKH5fCU16rw/vvrysJdICsT74CpABhW6jOEcRu66lXrStO+a6MRJLMAW20AW2tBWQUwemNpFcKN5toS8TOBkIaueBlsYBiW0Q2zXSoOmvnJpickxNbFjCWZYmQue4w44oQ4Uege8TISrwq7Ku226LGEExbLnT0kYDfPNBpTP+nH16Hni6VqSZ0IES3JD+GbHC7NgTRhNNuUe/fu/YWjFBBf3C5uR91moCThZTElz6CC9up7p36reVVIRceFmqjQffL+2rI/pwVMeG+/n8OeVd2nqnOaNq2KNpOkMWkzTtL6xTUQE57dOfkVtTUmDQheZoWNVzCkHZTdiS8gQ/3WGcovghYYGtrOn/+dIbU0yn0oQ2Zthm7FvPHPy/0ksv1WhvBbhjOs1JrOsHrgIuq/w3imHmGwDxMjD1PEfHG8OL7aEVaZ2nx4w3rzoqk/vdWuinNawIyX/ps6evOkjey0xrdjFO2p7WxXkDG9fcZaHuc+G2Olv1I/lrH64922xpIusZ31Pgd9s81fFeU/VY8YAAA="/>
          <p:cNvGrpSpPr>
            <a:grpSpLocks noChangeAspect="1"/>
          </p:cNvGrpSpPr>
          <p:nvPr/>
        </p:nvGrpSpPr>
        <p:grpSpPr>
          <a:xfrm>
            <a:off x="1919357" y="1807381"/>
            <a:ext cx="8353286" cy="3243239"/>
            <a:chOff x="1919357" y="1807381"/>
            <a:chExt cx="8353286" cy="3243239"/>
          </a:xfrm>
        </p:grpSpPr>
        <p:sp>
          <p:nvSpPr>
            <p:cNvPr id="3" name="IconShape1"/>
            <p:cNvSpPr/>
            <p:nvPr/>
          </p:nvSpPr>
          <p:spPr bwMode="auto">
            <a:xfrm>
              <a:off x="1919357" y="3328695"/>
              <a:ext cx="1316450" cy="1643314"/>
            </a:xfrm>
            <a:custGeom>
              <a:avLst/>
              <a:gdLst>
                <a:gd name="T0" fmla="*/ 1269 w 6165"/>
                <a:gd name="T1" fmla="*/ 2992 h 7707"/>
                <a:gd name="T2" fmla="*/ 1269 w 6165"/>
                <a:gd name="T3" fmla="*/ 4624 h 7707"/>
                <a:gd name="T4" fmla="*/ 4896 w 6165"/>
                <a:gd name="T5" fmla="*/ 4624 h 7707"/>
                <a:gd name="T6" fmla="*/ 4896 w 6165"/>
                <a:gd name="T7" fmla="*/ 2992 h 7707"/>
                <a:gd name="T8" fmla="*/ 4896 w 6165"/>
                <a:gd name="T9" fmla="*/ 4624 h 7707"/>
                <a:gd name="T10" fmla="*/ 4533 w 6165"/>
                <a:gd name="T11" fmla="*/ 4896 h 7707"/>
                <a:gd name="T12" fmla="*/ 3626 w 6165"/>
                <a:gd name="T13" fmla="*/ 6318 h 7707"/>
                <a:gd name="T14" fmla="*/ 3119 w 6165"/>
                <a:gd name="T15" fmla="*/ 6758 h 7707"/>
                <a:gd name="T16" fmla="*/ 2612 w 6165"/>
                <a:gd name="T17" fmla="*/ 6464 h 7707"/>
                <a:gd name="T18" fmla="*/ 2538 w 6165"/>
                <a:gd name="T19" fmla="*/ 5803 h 7707"/>
                <a:gd name="T20" fmla="*/ 906 w 6165"/>
                <a:gd name="T21" fmla="*/ 4896 h 7707"/>
                <a:gd name="T22" fmla="*/ 0 w 6165"/>
                <a:gd name="T23" fmla="*/ 6984 h 7707"/>
                <a:gd name="T24" fmla="*/ 229 w 6165"/>
                <a:gd name="T25" fmla="*/ 7208 h 7707"/>
                <a:gd name="T26" fmla="*/ 453 w 6165"/>
                <a:gd name="T27" fmla="*/ 7707 h 7707"/>
                <a:gd name="T28" fmla="*/ 2085 w 6165"/>
                <a:gd name="T29" fmla="*/ 6664 h 7707"/>
                <a:gd name="T30" fmla="*/ 2882 w 6165"/>
                <a:gd name="T31" fmla="*/ 7210 h 7707"/>
                <a:gd name="T32" fmla="*/ 3626 w 6165"/>
                <a:gd name="T33" fmla="*/ 6982 h 7707"/>
                <a:gd name="T34" fmla="*/ 4080 w 6165"/>
                <a:gd name="T35" fmla="*/ 7707 h 7707"/>
                <a:gd name="T36" fmla="*/ 5712 w 6165"/>
                <a:gd name="T37" fmla="*/ 6984 h 7707"/>
                <a:gd name="T38" fmla="*/ 5941 w 6165"/>
                <a:gd name="T39" fmla="*/ 7208 h 7707"/>
                <a:gd name="T40" fmla="*/ 6165 w 6165"/>
                <a:gd name="T41" fmla="*/ 5803 h 7707"/>
                <a:gd name="T42" fmla="*/ 4896 w 6165"/>
                <a:gd name="T43" fmla="*/ 1269 h 7707"/>
                <a:gd name="T44" fmla="*/ 2663 w 6165"/>
                <a:gd name="T45" fmla="*/ 2518 h 7707"/>
                <a:gd name="T46" fmla="*/ 2032 w 6165"/>
                <a:gd name="T47" fmla="*/ 2364 h 7707"/>
                <a:gd name="T48" fmla="*/ 2992 w 6165"/>
                <a:gd name="T49" fmla="*/ 0 h 7707"/>
                <a:gd name="T50" fmla="*/ 2493 w 6165"/>
                <a:gd name="T51" fmla="*/ 1269 h 7707"/>
                <a:gd name="T52" fmla="*/ 1949 w 6165"/>
                <a:gd name="T53" fmla="*/ 1269 h 7707"/>
                <a:gd name="T54" fmla="*/ 2493 w 6165"/>
                <a:gd name="T55" fmla="*/ 1269 h 7707"/>
                <a:gd name="T56" fmla="*/ 3037 w 6165"/>
                <a:gd name="T57" fmla="*/ 997 h 7707"/>
                <a:gd name="T58" fmla="*/ 3037 w 6165"/>
                <a:gd name="T59" fmla="*/ 1541 h 7707"/>
                <a:gd name="T60" fmla="*/ 4125 w 6165"/>
                <a:gd name="T61" fmla="*/ 1269 h 7707"/>
                <a:gd name="T62" fmla="*/ 3581 w 6165"/>
                <a:gd name="T63" fmla="*/ 1269 h 7707"/>
                <a:gd name="T64" fmla="*/ 4125 w 6165"/>
                <a:gd name="T65" fmla="*/ 1269 h 7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165" h="7707">
                  <a:moveTo>
                    <a:pt x="453" y="3808"/>
                  </a:moveTo>
                  <a:cubicBezTo>
                    <a:pt x="453" y="3357"/>
                    <a:pt x="818" y="2992"/>
                    <a:pt x="1269" y="2992"/>
                  </a:cubicBezTo>
                  <a:cubicBezTo>
                    <a:pt x="1720" y="2992"/>
                    <a:pt x="2085" y="3357"/>
                    <a:pt x="2085" y="3808"/>
                  </a:cubicBezTo>
                  <a:cubicBezTo>
                    <a:pt x="2085" y="4259"/>
                    <a:pt x="1720" y="4624"/>
                    <a:pt x="1269" y="4624"/>
                  </a:cubicBezTo>
                  <a:cubicBezTo>
                    <a:pt x="818" y="4624"/>
                    <a:pt x="453" y="4259"/>
                    <a:pt x="453" y="3808"/>
                  </a:cubicBezTo>
                  <a:close/>
                  <a:moveTo>
                    <a:pt x="4896" y="4624"/>
                  </a:moveTo>
                  <a:cubicBezTo>
                    <a:pt x="5346" y="4624"/>
                    <a:pt x="5712" y="4259"/>
                    <a:pt x="5712" y="3808"/>
                  </a:cubicBezTo>
                  <a:cubicBezTo>
                    <a:pt x="5712" y="3357"/>
                    <a:pt x="5346" y="2992"/>
                    <a:pt x="4896" y="2992"/>
                  </a:cubicBezTo>
                  <a:cubicBezTo>
                    <a:pt x="4445" y="2992"/>
                    <a:pt x="4080" y="3357"/>
                    <a:pt x="4080" y="3808"/>
                  </a:cubicBezTo>
                  <a:cubicBezTo>
                    <a:pt x="4080" y="4259"/>
                    <a:pt x="4445" y="4624"/>
                    <a:pt x="4896" y="4624"/>
                  </a:cubicBezTo>
                  <a:close/>
                  <a:moveTo>
                    <a:pt x="5258" y="4896"/>
                  </a:moveTo>
                  <a:lnTo>
                    <a:pt x="4533" y="4896"/>
                  </a:lnTo>
                  <a:cubicBezTo>
                    <a:pt x="4032" y="4896"/>
                    <a:pt x="3626" y="5302"/>
                    <a:pt x="3626" y="5803"/>
                  </a:cubicBezTo>
                  <a:lnTo>
                    <a:pt x="3626" y="6318"/>
                  </a:lnTo>
                  <a:cubicBezTo>
                    <a:pt x="3626" y="6375"/>
                    <a:pt x="3599" y="6429"/>
                    <a:pt x="3553" y="6464"/>
                  </a:cubicBezTo>
                  <a:lnTo>
                    <a:pt x="3119" y="6758"/>
                  </a:lnTo>
                  <a:cubicBezTo>
                    <a:pt x="3088" y="6779"/>
                    <a:pt x="3046" y="6778"/>
                    <a:pt x="3015" y="6756"/>
                  </a:cubicBezTo>
                  <a:lnTo>
                    <a:pt x="2612" y="6464"/>
                  </a:lnTo>
                  <a:cubicBezTo>
                    <a:pt x="2566" y="6429"/>
                    <a:pt x="2538" y="6375"/>
                    <a:pt x="2538" y="6318"/>
                  </a:cubicBezTo>
                  <a:lnTo>
                    <a:pt x="2538" y="5803"/>
                  </a:lnTo>
                  <a:cubicBezTo>
                    <a:pt x="2538" y="5302"/>
                    <a:pt x="2132" y="4896"/>
                    <a:pt x="1632" y="4896"/>
                  </a:cubicBezTo>
                  <a:lnTo>
                    <a:pt x="906" y="4896"/>
                  </a:lnTo>
                  <a:cubicBezTo>
                    <a:pt x="406" y="4896"/>
                    <a:pt x="0" y="5302"/>
                    <a:pt x="0" y="5803"/>
                  </a:cubicBezTo>
                  <a:lnTo>
                    <a:pt x="0" y="6984"/>
                  </a:lnTo>
                  <a:cubicBezTo>
                    <a:pt x="0" y="7108"/>
                    <a:pt x="100" y="7208"/>
                    <a:pt x="224" y="7208"/>
                  </a:cubicBezTo>
                  <a:lnTo>
                    <a:pt x="229" y="7208"/>
                  </a:lnTo>
                  <a:cubicBezTo>
                    <a:pt x="353" y="7208"/>
                    <a:pt x="453" y="7108"/>
                    <a:pt x="453" y="6984"/>
                  </a:cubicBezTo>
                  <a:lnTo>
                    <a:pt x="453" y="7707"/>
                  </a:lnTo>
                  <a:lnTo>
                    <a:pt x="2085" y="7707"/>
                  </a:lnTo>
                  <a:lnTo>
                    <a:pt x="2085" y="6664"/>
                  </a:lnTo>
                  <a:lnTo>
                    <a:pt x="2538" y="6982"/>
                  </a:lnTo>
                  <a:lnTo>
                    <a:pt x="2882" y="7210"/>
                  </a:lnTo>
                  <a:cubicBezTo>
                    <a:pt x="3003" y="7291"/>
                    <a:pt x="3162" y="7291"/>
                    <a:pt x="3283" y="7210"/>
                  </a:cubicBezTo>
                  <a:lnTo>
                    <a:pt x="3626" y="6982"/>
                  </a:lnTo>
                  <a:lnTo>
                    <a:pt x="4080" y="6664"/>
                  </a:lnTo>
                  <a:lnTo>
                    <a:pt x="4080" y="7707"/>
                  </a:lnTo>
                  <a:lnTo>
                    <a:pt x="5712" y="7707"/>
                  </a:lnTo>
                  <a:lnTo>
                    <a:pt x="5712" y="6984"/>
                  </a:lnTo>
                  <a:cubicBezTo>
                    <a:pt x="5712" y="7108"/>
                    <a:pt x="5812" y="7208"/>
                    <a:pt x="5936" y="7208"/>
                  </a:cubicBezTo>
                  <a:lnTo>
                    <a:pt x="5941" y="7208"/>
                  </a:lnTo>
                  <a:cubicBezTo>
                    <a:pt x="6065" y="7208"/>
                    <a:pt x="6165" y="7108"/>
                    <a:pt x="6165" y="6984"/>
                  </a:cubicBezTo>
                  <a:lnTo>
                    <a:pt x="6165" y="5803"/>
                  </a:lnTo>
                  <a:cubicBezTo>
                    <a:pt x="6165" y="5302"/>
                    <a:pt x="5759" y="4896"/>
                    <a:pt x="5258" y="4896"/>
                  </a:cubicBezTo>
                  <a:close/>
                  <a:moveTo>
                    <a:pt x="4896" y="1269"/>
                  </a:moveTo>
                  <a:cubicBezTo>
                    <a:pt x="4896" y="1970"/>
                    <a:pt x="4043" y="2539"/>
                    <a:pt x="2992" y="2539"/>
                  </a:cubicBezTo>
                  <a:cubicBezTo>
                    <a:pt x="2879" y="2539"/>
                    <a:pt x="2770" y="2531"/>
                    <a:pt x="2663" y="2518"/>
                  </a:cubicBezTo>
                  <a:cubicBezTo>
                    <a:pt x="2392" y="2810"/>
                    <a:pt x="1858" y="2856"/>
                    <a:pt x="1858" y="2856"/>
                  </a:cubicBezTo>
                  <a:cubicBezTo>
                    <a:pt x="1951" y="2686"/>
                    <a:pt x="2011" y="2521"/>
                    <a:pt x="2032" y="2364"/>
                  </a:cubicBezTo>
                  <a:cubicBezTo>
                    <a:pt x="1468" y="2144"/>
                    <a:pt x="1088" y="1737"/>
                    <a:pt x="1088" y="1269"/>
                  </a:cubicBezTo>
                  <a:cubicBezTo>
                    <a:pt x="1088" y="568"/>
                    <a:pt x="1940" y="0"/>
                    <a:pt x="2992" y="0"/>
                  </a:cubicBezTo>
                  <a:cubicBezTo>
                    <a:pt x="4043" y="0"/>
                    <a:pt x="4896" y="568"/>
                    <a:pt x="4896" y="1269"/>
                  </a:cubicBezTo>
                  <a:close/>
                  <a:moveTo>
                    <a:pt x="2493" y="1269"/>
                  </a:moveTo>
                  <a:cubicBezTo>
                    <a:pt x="2493" y="1119"/>
                    <a:pt x="2371" y="997"/>
                    <a:pt x="2221" y="997"/>
                  </a:cubicBezTo>
                  <a:cubicBezTo>
                    <a:pt x="2071" y="997"/>
                    <a:pt x="1949" y="1119"/>
                    <a:pt x="1949" y="1269"/>
                  </a:cubicBezTo>
                  <a:cubicBezTo>
                    <a:pt x="1949" y="1420"/>
                    <a:pt x="2071" y="1541"/>
                    <a:pt x="2221" y="1541"/>
                  </a:cubicBezTo>
                  <a:cubicBezTo>
                    <a:pt x="2371" y="1541"/>
                    <a:pt x="2493" y="1420"/>
                    <a:pt x="2493" y="1269"/>
                  </a:cubicBezTo>
                  <a:close/>
                  <a:moveTo>
                    <a:pt x="3309" y="1269"/>
                  </a:moveTo>
                  <a:cubicBezTo>
                    <a:pt x="3309" y="1119"/>
                    <a:pt x="3187" y="997"/>
                    <a:pt x="3037" y="997"/>
                  </a:cubicBezTo>
                  <a:cubicBezTo>
                    <a:pt x="2887" y="997"/>
                    <a:pt x="2765" y="1119"/>
                    <a:pt x="2765" y="1269"/>
                  </a:cubicBezTo>
                  <a:cubicBezTo>
                    <a:pt x="2765" y="1420"/>
                    <a:pt x="2887" y="1541"/>
                    <a:pt x="3037" y="1541"/>
                  </a:cubicBezTo>
                  <a:cubicBezTo>
                    <a:pt x="3187" y="1541"/>
                    <a:pt x="3309" y="1420"/>
                    <a:pt x="3309" y="1269"/>
                  </a:cubicBezTo>
                  <a:close/>
                  <a:moveTo>
                    <a:pt x="4125" y="1269"/>
                  </a:moveTo>
                  <a:cubicBezTo>
                    <a:pt x="4125" y="1119"/>
                    <a:pt x="4003" y="997"/>
                    <a:pt x="3853" y="997"/>
                  </a:cubicBezTo>
                  <a:cubicBezTo>
                    <a:pt x="3703" y="997"/>
                    <a:pt x="3581" y="1119"/>
                    <a:pt x="3581" y="1269"/>
                  </a:cubicBezTo>
                  <a:cubicBezTo>
                    <a:pt x="3581" y="1420"/>
                    <a:pt x="3703" y="1541"/>
                    <a:pt x="3853" y="1541"/>
                  </a:cubicBezTo>
                  <a:cubicBezTo>
                    <a:pt x="4003" y="1541"/>
                    <a:pt x="4125" y="1420"/>
                    <a:pt x="4125" y="1269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</p:sp>
        <p:sp>
          <p:nvSpPr>
            <p:cNvPr id="4" name="IconShape2"/>
            <p:cNvSpPr/>
            <p:nvPr/>
          </p:nvSpPr>
          <p:spPr bwMode="auto">
            <a:xfrm>
              <a:off x="8836498" y="2069127"/>
              <a:ext cx="1436145" cy="1522475"/>
            </a:xfrm>
            <a:custGeom>
              <a:avLst/>
              <a:gdLst>
                <a:gd name="connsiteX0" fmla="*/ 163934 w 574049"/>
                <a:gd name="connsiteY0" fmla="*/ 419229 h 608556"/>
                <a:gd name="connsiteX1" fmla="*/ 243204 w 574049"/>
                <a:gd name="connsiteY1" fmla="*/ 456825 h 608556"/>
                <a:gd name="connsiteX2" fmla="*/ 322474 w 574049"/>
                <a:gd name="connsiteY2" fmla="*/ 419229 h 608556"/>
                <a:gd name="connsiteX3" fmla="*/ 465217 w 574049"/>
                <a:gd name="connsiteY3" fmla="*/ 530768 h 608556"/>
                <a:gd name="connsiteX4" fmla="*/ 476968 w 574049"/>
                <a:gd name="connsiteY4" fmla="*/ 565383 h 608556"/>
                <a:gd name="connsiteX5" fmla="*/ 472634 w 574049"/>
                <a:gd name="connsiteY5" fmla="*/ 594902 h 608556"/>
                <a:gd name="connsiteX6" fmla="*/ 446050 w 574049"/>
                <a:gd name="connsiteY6" fmla="*/ 608556 h 608556"/>
                <a:gd name="connsiteX7" fmla="*/ 40358 w 574049"/>
                <a:gd name="connsiteY7" fmla="*/ 608556 h 608556"/>
                <a:gd name="connsiteX8" fmla="*/ 13871 w 574049"/>
                <a:gd name="connsiteY8" fmla="*/ 594902 h 608556"/>
                <a:gd name="connsiteX9" fmla="*/ 9440 w 574049"/>
                <a:gd name="connsiteY9" fmla="*/ 565383 h 608556"/>
                <a:gd name="connsiteX10" fmla="*/ 21191 w 574049"/>
                <a:gd name="connsiteY10" fmla="*/ 530768 h 608556"/>
                <a:gd name="connsiteX11" fmla="*/ 163934 w 574049"/>
                <a:gd name="connsiteY11" fmla="*/ 419229 h 608556"/>
                <a:gd name="connsiteX12" fmla="*/ 406631 w 574049"/>
                <a:gd name="connsiteY12" fmla="*/ 313875 h 608556"/>
                <a:gd name="connsiteX13" fmla="*/ 472435 w 574049"/>
                <a:gd name="connsiteY13" fmla="*/ 379473 h 608556"/>
                <a:gd name="connsiteX14" fmla="*/ 438040 w 574049"/>
                <a:gd name="connsiteY14" fmla="*/ 436800 h 608556"/>
                <a:gd name="connsiteX15" fmla="*/ 344006 w 574049"/>
                <a:gd name="connsiteY15" fmla="*/ 390920 h 608556"/>
                <a:gd name="connsiteX16" fmla="*/ 371946 w 574049"/>
                <a:gd name="connsiteY16" fmla="*/ 323974 h 608556"/>
                <a:gd name="connsiteX17" fmla="*/ 406631 w 574049"/>
                <a:gd name="connsiteY17" fmla="*/ 313875 h 608556"/>
                <a:gd name="connsiteX18" fmla="*/ 381817 w 574049"/>
                <a:gd name="connsiteY18" fmla="*/ 212472 h 608556"/>
                <a:gd name="connsiteX19" fmla="*/ 431512 w 574049"/>
                <a:gd name="connsiteY19" fmla="*/ 212472 h 608556"/>
                <a:gd name="connsiteX20" fmla="*/ 445284 w 574049"/>
                <a:gd name="connsiteY20" fmla="*/ 226127 h 608556"/>
                <a:gd name="connsiteX21" fmla="*/ 445284 w 574049"/>
                <a:gd name="connsiteY21" fmla="*/ 254301 h 608556"/>
                <a:gd name="connsiteX22" fmla="*/ 468013 w 574049"/>
                <a:gd name="connsiteY22" fmla="*/ 263725 h 608556"/>
                <a:gd name="connsiteX23" fmla="*/ 488045 w 574049"/>
                <a:gd name="connsiteY23" fmla="*/ 243820 h 608556"/>
                <a:gd name="connsiteX24" fmla="*/ 497773 w 574049"/>
                <a:gd name="connsiteY24" fmla="*/ 239781 h 608556"/>
                <a:gd name="connsiteX25" fmla="*/ 507403 w 574049"/>
                <a:gd name="connsiteY25" fmla="*/ 243820 h 608556"/>
                <a:gd name="connsiteX26" fmla="*/ 542556 w 574049"/>
                <a:gd name="connsiteY26" fmla="*/ 278918 h 608556"/>
                <a:gd name="connsiteX27" fmla="*/ 546601 w 574049"/>
                <a:gd name="connsiteY27" fmla="*/ 288630 h 608556"/>
                <a:gd name="connsiteX28" fmla="*/ 542556 w 574049"/>
                <a:gd name="connsiteY28" fmla="*/ 298246 h 608556"/>
                <a:gd name="connsiteX29" fmla="*/ 522620 w 574049"/>
                <a:gd name="connsiteY29" fmla="*/ 318247 h 608556"/>
                <a:gd name="connsiteX30" fmla="*/ 532155 w 574049"/>
                <a:gd name="connsiteY30" fmla="*/ 340941 h 608556"/>
                <a:gd name="connsiteX31" fmla="*/ 560277 w 574049"/>
                <a:gd name="connsiteY31" fmla="*/ 340941 h 608556"/>
                <a:gd name="connsiteX32" fmla="*/ 574049 w 574049"/>
                <a:gd name="connsiteY32" fmla="*/ 354692 h 608556"/>
                <a:gd name="connsiteX33" fmla="*/ 574049 w 574049"/>
                <a:gd name="connsiteY33" fmla="*/ 404310 h 608556"/>
                <a:gd name="connsiteX34" fmla="*/ 570004 w 574049"/>
                <a:gd name="connsiteY34" fmla="*/ 414022 h 608556"/>
                <a:gd name="connsiteX35" fmla="*/ 560277 w 574049"/>
                <a:gd name="connsiteY35" fmla="*/ 418060 h 608556"/>
                <a:gd name="connsiteX36" fmla="*/ 532155 w 574049"/>
                <a:gd name="connsiteY36" fmla="*/ 418060 h 608556"/>
                <a:gd name="connsiteX37" fmla="*/ 522620 w 574049"/>
                <a:gd name="connsiteY37" fmla="*/ 440754 h 608556"/>
                <a:gd name="connsiteX38" fmla="*/ 542652 w 574049"/>
                <a:gd name="connsiteY38" fmla="*/ 460755 h 608556"/>
                <a:gd name="connsiteX39" fmla="*/ 546601 w 574049"/>
                <a:gd name="connsiteY39" fmla="*/ 470371 h 608556"/>
                <a:gd name="connsiteX40" fmla="*/ 542652 w 574049"/>
                <a:gd name="connsiteY40" fmla="*/ 480083 h 608556"/>
                <a:gd name="connsiteX41" fmla="*/ 507500 w 574049"/>
                <a:gd name="connsiteY41" fmla="*/ 515181 h 608556"/>
                <a:gd name="connsiteX42" fmla="*/ 497773 w 574049"/>
                <a:gd name="connsiteY42" fmla="*/ 519220 h 608556"/>
                <a:gd name="connsiteX43" fmla="*/ 493246 w 574049"/>
                <a:gd name="connsiteY43" fmla="*/ 518355 h 608556"/>
                <a:gd name="connsiteX44" fmla="*/ 453182 w 574049"/>
                <a:gd name="connsiteY44" fmla="*/ 451716 h 608556"/>
                <a:gd name="connsiteX45" fmla="*/ 492861 w 574049"/>
                <a:gd name="connsiteY45" fmla="*/ 379501 h 608556"/>
                <a:gd name="connsiteX46" fmla="*/ 406665 w 574049"/>
                <a:gd name="connsiteY46" fmla="*/ 293534 h 608556"/>
                <a:gd name="connsiteX47" fmla="*/ 377098 w 574049"/>
                <a:gd name="connsiteY47" fmla="*/ 299015 h 608556"/>
                <a:gd name="connsiteX48" fmla="*/ 379698 w 574049"/>
                <a:gd name="connsiteY48" fmla="*/ 265167 h 608556"/>
                <a:gd name="connsiteX49" fmla="*/ 373149 w 574049"/>
                <a:gd name="connsiteY49" fmla="*/ 215741 h 608556"/>
                <a:gd name="connsiteX50" fmla="*/ 381817 w 574049"/>
                <a:gd name="connsiteY50" fmla="*/ 212472 h 608556"/>
                <a:gd name="connsiteX51" fmla="*/ 243227 w 574049"/>
                <a:gd name="connsiteY51" fmla="*/ 144222 h 608556"/>
                <a:gd name="connsiteX52" fmla="*/ 348920 w 574049"/>
                <a:gd name="connsiteY52" fmla="*/ 265117 h 608556"/>
                <a:gd name="connsiteX53" fmla="*/ 243190 w 574049"/>
                <a:gd name="connsiteY53" fmla="*/ 426215 h 608556"/>
                <a:gd name="connsiteX54" fmla="*/ 137461 w 574049"/>
                <a:gd name="connsiteY54" fmla="*/ 265117 h 608556"/>
                <a:gd name="connsiteX55" fmla="*/ 243227 w 574049"/>
                <a:gd name="connsiteY55" fmla="*/ 144222 h 608556"/>
                <a:gd name="connsiteX56" fmla="*/ 279862 w 574049"/>
                <a:gd name="connsiteY56" fmla="*/ 119148 h 608556"/>
                <a:gd name="connsiteX57" fmla="*/ 310064 w 574049"/>
                <a:gd name="connsiteY57" fmla="*/ 131181 h 608556"/>
                <a:gd name="connsiteX58" fmla="*/ 279862 w 574049"/>
                <a:gd name="connsiteY58" fmla="*/ 119148 h 608556"/>
                <a:gd name="connsiteX59" fmla="*/ 155080 w 574049"/>
                <a:gd name="connsiteY59" fmla="*/ 94840 h 608556"/>
                <a:gd name="connsiteX60" fmla="*/ 203722 w 574049"/>
                <a:gd name="connsiteY60" fmla="*/ 119842 h 608556"/>
                <a:gd name="connsiteX61" fmla="*/ 117804 w 574049"/>
                <a:gd name="connsiteY61" fmla="*/ 201676 h 608556"/>
                <a:gd name="connsiteX62" fmla="*/ 155080 w 574049"/>
                <a:gd name="connsiteY62" fmla="*/ 94840 h 608556"/>
                <a:gd name="connsiteX63" fmla="*/ 131962 w 574049"/>
                <a:gd name="connsiteY63" fmla="*/ 0 h 608556"/>
                <a:gd name="connsiteX64" fmla="*/ 178101 w 574049"/>
                <a:gd name="connsiteY64" fmla="*/ 0 h 608556"/>
                <a:gd name="connsiteX65" fmla="*/ 190816 w 574049"/>
                <a:gd name="connsiteY65" fmla="*/ 12695 h 608556"/>
                <a:gd name="connsiteX66" fmla="*/ 190816 w 574049"/>
                <a:gd name="connsiteY66" fmla="*/ 38757 h 608556"/>
                <a:gd name="connsiteX67" fmla="*/ 211911 w 574049"/>
                <a:gd name="connsiteY67" fmla="*/ 47509 h 608556"/>
                <a:gd name="connsiteX68" fmla="*/ 230501 w 574049"/>
                <a:gd name="connsiteY68" fmla="*/ 29044 h 608556"/>
                <a:gd name="connsiteX69" fmla="*/ 239459 w 574049"/>
                <a:gd name="connsiteY69" fmla="*/ 25389 h 608556"/>
                <a:gd name="connsiteX70" fmla="*/ 248417 w 574049"/>
                <a:gd name="connsiteY70" fmla="*/ 29044 h 608556"/>
                <a:gd name="connsiteX71" fmla="*/ 280975 w 574049"/>
                <a:gd name="connsiteY71" fmla="*/ 61646 h 608556"/>
                <a:gd name="connsiteX72" fmla="*/ 284731 w 574049"/>
                <a:gd name="connsiteY72" fmla="*/ 70590 h 608556"/>
                <a:gd name="connsiteX73" fmla="*/ 280975 w 574049"/>
                <a:gd name="connsiteY73" fmla="*/ 79534 h 608556"/>
                <a:gd name="connsiteX74" fmla="*/ 262481 w 574049"/>
                <a:gd name="connsiteY74" fmla="*/ 97999 h 608556"/>
                <a:gd name="connsiteX75" fmla="*/ 270379 w 574049"/>
                <a:gd name="connsiteY75" fmla="*/ 116848 h 608556"/>
                <a:gd name="connsiteX76" fmla="*/ 224915 w 574049"/>
                <a:gd name="connsiteY76" fmla="*/ 115502 h 608556"/>
                <a:gd name="connsiteX77" fmla="*/ 155080 w 574049"/>
                <a:gd name="connsiteY77" fmla="*/ 74437 h 608556"/>
                <a:gd name="connsiteX78" fmla="*/ 74458 w 574049"/>
                <a:gd name="connsiteY78" fmla="*/ 154836 h 608556"/>
                <a:gd name="connsiteX79" fmla="*/ 111638 w 574049"/>
                <a:gd name="connsiteY79" fmla="*/ 222445 h 608556"/>
                <a:gd name="connsiteX80" fmla="*/ 106822 w 574049"/>
                <a:gd name="connsiteY80" fmla="*/ 265145 h 608556"/>
                <a:gd name="connsiteX81" fmla="*/ 106822 w 574049"/>
                <a:gd name="connsiteY81" fmla="*/ 265818 h 608556"/>
                <a:gd name="connsiteX82" fmla="*/ 98153 w 574049"/>
                <a:gd name="connsiteY82" fmla="*/ 262163 h 608556"/>
                <a:gd name="connsiteX83" fmla="*/ 79659 w 574049"/>
                <a:gd name="connsiteY83" fmla="*/ 280628 h 608556"/>
                <a:gd name="connsiteX84" fmla="*/ 70701 w 574049"/>
                <a:gd name="connsiteY84" fmla="*/ 284379 h 608556"/>
                <a:gd name="connsiteX85" fmla="*/ 61647 w 574049"/>
                <a:gd name="connsiteY85" fmla="*/ 280628 h 608556"/>
                <a:gd name="connsiteX86" fmla="*/ 29089 w 574049"/>
                <a:gd name="connsiteY86" fmla="*/ 248122 h 608556"/>
                <a:gd name="connsiteX87" fmla="*/ 29089 w 574049"/>
                <a:gd name="connsiteY87" fmla="*/ 230138 h 608556"/>
                <a:gd name="connsiteX88" fmla="*/ 47583 w 574049"/>
                <a:gd name="connsiteY88" fmla="*/ 211673 h 608556"/>
                <a:gd name="connsiteX89" fmla="*/ 38722 w 574049"/>
                <a:gd name="connsiteY89" fmla="*/ 190612 h 608556"/>
                <a:gd name="connsiteX90" fmla="*/ 12715 w 574049"/>
                <a:gd name="connsiteY90" fmla="*/ 190612 h 608556"/>
                <a:gd name="connsiteX91" fmla="*/ 0 w 574049"/>
                <a:gd name="connsiteY91" fmla="*/ 177821 h 608556"/>
                <a:gd name="connsiteX92" fmla="*/ 0 w 574049"/>
                <a:gd name="connsiteY92" fmla="*/ 131851 h 608556"/>
                <a:gd name="connsiteX93" fmla="*/ 12715 w 574049"/>
                <a:gd name="connsiteY93" fmla="*/ 119156 h 608556"/>
                <a:gd name="connsiteX94" fmla="*/ 38818 w 574049"/>
                <a:gd name="connsiteY94" fmla="*/ 119156 h 608556"/>
                <a:gd name="connsiteX95" fmla="*/ 47583 w 574049"/>
                <a:gd name="connsiteY95" fmla="*/ 98095 h 608556"/>
                <a:gd name="connsiteX96" fmla="*/ 29089 w 574049"/>
                <a:gd name="connsiteY96" fmla="*/ 79630 h 608556"/>
                <a:gd name="connsiteX97" fmla="*/ 25333 w 574049"/>
                <a:gd name="connsiteY97" fmla="*/ 70590 h 608556"/>
                <a:gd name="connsiteX98" fmla="*/ 29089 w 574049"/>
                <a:gd name="connsiteY98" fmla="*/ 61646 h 608556"/>
                <a:gd name="connsiteX99" fmla="*/ 61647 w 574049"/>
                <a:gd name="connsiteY99" fmla="*/ 29044 h 608556"/>
                <a:gd name="connsiteX100" fmla="*/ 70701 w 574049"/>
                <a:gd name="connsiteY100" fmla="*/ 25389 h 608556"/>
                <a:gd name="connsiteX101" fmla="*/ 79659 w 574049"/>
                <a:gd name="connsiteY101" fmla="*/ 29140 h 608556"/>
                <a:gd name="connsiteX102" fmla="*/ 98153 w 574049"/>
                <a:gd name="connsiteY102" fmla="*/ 47509 h 608556"/>
                <a:gd name="connsiteX103" fmla="*/ 119248 w 574049"/>
                <a:gd name="connsiteY103" fmla="*/ 38757 h 608556"/>
                <a:gd name="connsiteX104" fmla="*/ 119248 w 574049"/>
                <a:gd name="connsiteY104" fmla="*/ 12695 h 608556"/>
                <a:gd name="connsiteX105" fmla="*/ 131962 w 574049"/>
                <a:gd name="connsiteY105" fmla="*/ 0 h 608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</a:cxnLst>
              <a:rect l="l" t="t" r="r" b="b"/>
              <a:pathLst>
                <a:path w="574049" h="608556">
                  <a:moveTo>
                    <a:pt x="163934" y="419229"/>
                  </a:moveTo>
                  <a:cubicBezTo>
                    <a:pt x="185702" y="442210"/>
                    <a:pt x="212671" y="456825"/>
                    <a:pt x="243204" y="456825"/>
                  </a:cubicBezTo>
                  <a:cubicBezTo>
                    <a:pt x="273737" y="456825"/>
                    <a:pt x="300706" y="442210"/>
                    <a:pt x="322474" y="419229"/>
                  </a:cubicBezTo>
                  <a:cubicBezTo>
                    <a:pt x="387585" y="424998"/>
                    <a:pt x="443835" y="468075"/>
                    <a:pt x="465217" y="530768"/>
                  </a:cubicBezTo>
                  <a:lnTo>
                    <a:pt x="476968" y="565383"/>
                  </a:lnTo>
                  <a:cubicBezTo>
                    <a:pt x="480339" y="575383"/>
                    <a:pt x="478702" y="586344"/>
                    <a:pt x="472634" y="594902"/>
                  </a:cubicBezTo>
                  <a:cubicBezTo>
                    <a:pt x="466469" y="603460"/>
                    <a:pt x="456549" y="608556"/>
                    <a:pt x="446050" y="608556"/>
                  </a:cubicBezTo>
                  <a:lnTo>
                    <a:pt x="40358" y="608556"/>
                  </a:lnTo>
                  <a:cubicBezTo>
                    <a:pt x="29859" y="608556"/>
                    <a:pt x="19939" y="603460"/>
                    <a:pt x="13871" y="594902"/>
                  </a:cubicBezTo>
                  <a:cubicBezTo>
                    <a:pt x="7706" y="586344"/>
                    <a:pt x="6069" y="575383"/>
                    <a:pt x="9440" y="565383"/>
                  </a:cubicBezTo>
                  <a:lnTo>
                    <a:pt x="21191" y="530768"/>
                  </a:lnTo>
                  <a:cubicBezTo>
                    <a:pt x="42573" y="468075"/>
                    <a:pt x="98919" y="424998"/>
                    <a:pt x="163934" y="419229"/>
                  </a:cubicBezTo>
                  <a:close/>
                  <a:moveTo>
                    <a:pt x="406631" y="313875"/>
                  </a:moveTo>
                  <a:cubicBezTo>
                    <a:pt x="442857" y="313875"/>
                    <a:pt x="472435" y="343308"/>
                    <a:pt x="472435" y="379473"/>
                  </a:cubicBezTo>
                  <a:cubicBezTo>
                    <a:pt x="472435" y="404289"/>
                    <a:pt x="458369" y="425642"/>
                    <a:pt x="438040" y="436800"/>
                  </a:cubicBezTo>
                  <a:cubicBezTo>
                    <a:pt x="411641" y="413523"/>
                    <a:pt x="379269" y="397556"/>
                    <a:pt x="344006" y="390920"/>
                  </a:cubicBezTo>
                  <a:cubicBezTo>
                    <a:pt x="356435" y="370913"/>
                    <a:pt x="365973" y="347925"/>
                    <a:pt x="371946" y="323974"/>
                  </a:cubicBezTo>
                  <a:cubicBezTo>
                    <a:pt x="382063" y="317626"/>
                    <a:pt x="393913" y="313875"/>
                    <a:pt x="406631" y="313875"/>
                  </a:cubicBezTo>
                  <a:close/>
                  <a:moveTo>
                    <a:pt x="381817" y="212472"/>
                  </a:moveTo>
                  <a:lnTo>
                    <a:pt x="431512" y="212472"/>
                  </a:lnTo>
                  <a:cubicBezTo>
                    <a:pt x="439121" y="212472"/>
                    <a:pt x="445284" y="218530"/>
                    <a:pt x="445284" y="226127"/>
                  </a:cubicBezTo>
                  <a:lnTo>
                    <a:pt x="445284" y="254301"/>
                  </a:lnTo>
                  <a:cubicBezTo>
                    <a:pt x="453182" y="256705"/>
                    <a:pt x="460790" y="259879"/>
                    <a:pt x="468013" y="263725"/>
                  </a:cubicBezTo>
                  <a:lnTo>
                    <a:pt x="488045" y="243820"/>
                  </a:lnTo>
                  <a:cubicBezTo>
                    <a:pt x="490742" y="241127"/>
                    <a:pt x="494209" y="239781"/>
                    <a:pt x="497773" y="239781"/>
                  </a:cubicBezTo>
                  <a:cubicBezTo>
                    <a:pt x="501240" y="239781"/>
                    <a:pt x="504803" y="241127"/>
                    <a:pt x="507403" y="243820"/>
                  </a:cubicBezTo>
                  <a:lnTo>
                    <a:pt x="542556" y="278918"/>
                  </a:lnTo>
                  <a:cubicBezTo>
                    <a:pt x="545157" y="281514"/>
                    <a:pt x="546601" y="284976"/>
                    <a:pt x="546601" y="288630"/>
                  </a:cubicBezTo>
                  <a:cubicBezTo>
                    <a:pt x="546601" y="292188"/>
                    <a:pt x="545157" y="295746"/>
                    <a:pt x="542556" y="298246"/>
                  </a:cubicBezTo>
                  <a:lnTo>
                    <a:pt x="522620" y="318247"/>
                  </a:lnTo>
                  <a:cubicBezTo>
                    <a:pt x="526473" y="325459"/>
                    <a:pt x="529651" y="333056"/>
                    <a:pt x="532155" y="340941"/>
                  </a:cubicBezTo>
                  <a:lnTo>
                    <a:pt x="560277" y="340941"/>
                  </a:lnTo>
                  <a:cubicBezTo>
                    <a:pt x="567885" y="340941"/>
                    <a:pt x="574049" y="347095"/>
                    <a:pt x="574049" y="354692"/>
                  </a:cubicBezTo>
                  <a:lnTo>
                    <a:pt x="574049" y="404310"/>
                  </a:lnTo>
                  <a:cubicBezTo>
                    <a:pt x="574049" y="407964"/>
                    <a:pt x="572605" y="411425"/>
                    <a:pt x="570004" y="414022"/>
                  </a:cubicBezTo>
                  <a:cubicBezTo>
                    <a:pt x="567500" y="416618"/>
                    <a:pt x="563937" y="418060"/>
                    <a:pt x="560277" y="418060"/>
                  </a:cubicBezTo>
                  <a:lnTo>
                    <a:pt x="532155" y="418060"/>
                  </a:lnTo>
                  <a:cubicBezTo>
                    <a:pt x="529651" y="425946"/>
                    <a:pt x="526473" y="433542"/>
                    <a:pt x="522620" y="440754"/>
                  </a:cubicBezTo>
                  <a:lnTo>
                    <a:pt x="542652" y="460755"/>
                  </a:lnTo>
                  <a:cubicBezTo>
                    <a:pt x="545157" y="463255"/>
                    <a:pt x="546601" y="466813"/>
                    <a:pt x="546601" y="470371"/>
                  </a:cubicBezTo>
                  <a:cubicBezTo>
                    <a:pt x="546601" y="474025"/>
                    <a:pt x="545157" y="477487"/>
                    <a:pt x="542652" y="480083"/>
                  </a:cubicBezTo>
                  <a:lnTo>
                    <a:pt x="507500" y="515181"/>
                  </a:lnTo>
                  <a:cubicBezTo>
                    <a:pt x="504803" y="517874"/>
                    <a:pt x="501240" y="519220"/>
                    <a:pt x="497773" y="519220"/>
                  </a:cubicBezTo>
                  <a:cubicBezTo>
                    <a:pt x="496232" y="519220"/>
                    <a:pt x="494691" y="518835"/>
                    <a:pt x="493246" y="518355"/>
                  </a:cubicBezTo>
                  <a:cubicBezTo>
                    <a:pt x="484289" y="493161"/>
                    <a:pt x="470517" y="470660"/>
                    <a:pt x="453182" y="451716"/>
                  </a:cubicBezTo>
                  <a:cubicBezTo>
                    <a:pt x="476970" y="436331"/>
                    <a:pt x="492861" y="409791"/>
                    <a:pt x="492861" y="379501"/>
                  </a:cubicBezTo>
                  <a:cubicBezTo>
                    <a:pt x="492861" y="332094"/>
                    <a:pt x="454145" y="293534"/>
                    <a:pt x="406665" y="293534"/>
                  </a:cubicBezTo>
                  <a:cubicBezTo>
                    <a:pt x="396263" y="293534"/>
                    <a:pt x="386440" y="295650"/>
                    <a:pt x="377098" y="299015"/>
                  </a:cubicBezTo>
                  <a:cubicBezTo>
                    <a:pt x="378735" y="287765"/>
                    <a:pt x="379698" y="276418"/>
                    <a:pt x="379698" y="265167"/>
                  </a:cubicBezTo>
                  <a:cubicBezTo>
                    <a:pt x="379698" y="247570"/>
                    <a:pt x="377387" y="231031"/>
                    <a:pt x="373149" y="215741"/>
                  </a:cubicBezTo>
                  <a:cubicBezTo>
                    <a:pt x="375557" y="213818"/>
                    <a:pt x="378542" y="212472"/>
                    <a:pt x="381817" y="212472"/>
                  </a:cubicBezTo>
                  <a:close/>
                  <a:moveTo>
                    <a:pt x="243227" y="144222"/>
                  </a:moveTo>
                  <a:cubicBezTo>
                    <a:pt x="296103" y="144270"/>
                    <a:pt x="348968" y="184617"/>
                    <a:pt x="348920" y="265117"/>
                  </a:cubicBezTo>
                  <a:cubicBezTo>
                    <a:pt x="348920" y="342829"/>
                    <a:pt x="301640" y="426215"/>
                    <a:pt x="243190" y="426215"/>
                  </a:cubicBezTo>
                  <a:cubicBezTo>
                    <a:pt x="184837" y="426215"/>
                    <a:pt x="137461" y="342829"/>
                    <a:pt x="137461" y="265117"/>
                  </a:cubicBezTo>
                  <a:cubicBezTo>
                    <a:pt x="137461" y="184424"/>
                    <a:pt x="190350" y="144174"/>
                    <a:pt x="243227" y="144222"/>
                  </a:cubicBezTo>
                  <a:close/>
                  <a:moveTo>
                    <a:pt x="279862" y="119148"/>
                  </a:moveTo>
                  <a:cubicBezTo>
                    <a:pt x="294336" y="119148"/>
                    <a:pt x="309292" y="116645"/>
                    <a:pt x="310064" y="131181"/>
                  </a:cubicBezTo>
                  <a:cubicBezTo>
                    <a:pt x="300704" y="125983"/>
                    <a:pt x="290573" y="121940"/>
                    <a:pt x="279862" y="119148"/>
                  </a:cubicBezTo>
                  <a:close/>
                  <a:moveTo>
                    <a:pt x="155080" y="94840"/>
                  </a:moveTo>
                  <a:cubicBezTo>
                    <a:pt x="175115" y="94840"/>
                    <a:pt x="192838" y="104745"/>
                    <a:pt x="203722" y="119842"/>
                  </a:cubicBezTo>
                  <a:cubicBezTo>
                    <a:pt x="163749" y="131478"/>
                    <a:pt x="133216" y="160807"/>
                    <a:pt x="117804" y="201676"/>
                  </a:cubicBezTo>
                  <a:cubicBezTo>
                    <a:pt x="72823" y="165904"/>
                    <a:pt x="98733" y="94840"/>
                    <a:pt x="155080" y="94840"/>
                  </a:cubicBezTo>
                  <a:close/>
                  <a:moveTo>
                    <a:pt x="131962" y="0"/>
                  </a:moveTo>
                  <a:lnTo>
                    <a:pt x="178101" y="0"/>
                  </a:lnTo>
                  <a:cubicBezTo>
                    <a:pt x="185133" y="0"/>
                    <a:pt x="190816" y="5674"/>
                    <a:pt x="190816" y="12695"/>
                  </a:cubicBezTo>
                  <a:lnTo>
                    <a:pt x="190816" y="38757"/>
                  </a:lnTo>
                  <a:cubicBezTo>
                    <a:pt x="198233" y="41065"/>
                    <a:pt x="205265" y="44047"/>
                    <a:pt x="211911" y="47509"/>
                  </a:cubicBezTo>
                  <a:lnTo>
                    <a:pt x="230501" y="29044"/>
                  </a:lnTo>
                  <a:cubicBezTo>
                    <a:pt x="232909" y="26543"/>
                    <a:pt x="236184" y="25389"/>
                    <a:pt x="239459" y="25389"/>
                  </a:cubicBezTo>
                  <a:cubicBezTo>
                    <a:pt x="242734" y="25389"/>
                    <a:pt x="245913" y="26543"/>
                    <a:pt x="248417" y="29044"/>
                  </a:cubicBezTo>
                  <a:lnTo>
                    <a:pt x="280975" y="61646"/>
                  </a:lnTo>
                  <a:cubicBezTo>
                    <a:pt x="283383" y="63954"/>
                    <a:pt x="284731" y="67224"/>
                    <a:pt x="284731" y="70590"/>
                  </a:cubicBezTo>
                  <a:cubicBezTo>
                    <a:pt x="284731" y="73956"/>
                    <a:pt x="283383" y="77226"/>
                    <a:pt x="280975" y="79534"/>
                  </a:cubicBezTo>
                  <a:lnTo>
                    <a:pt x="262481" y="97999"/>
                  </a:lnTo>
                  <a:cubicBezTo>
                    <a:pt x="265659" y="103961"/>
                    <a:pt x="268260" y="110405"/>
                    <a:pt x="270379" y="116848"/>
                  </a:cubicBezTo>
                  <a:cubicBezTo>
                    <a:pt x="253619" y="113675"/>
                    <a:pt x="239748" y="113675"/>
                    <a:pt x="224915" y="115502"/>
                  </a:cubicBezTo>
                  <a:cubicBezTo>
                    <a:pt x="211044" y="91171"/>
                    <a:pt x="185133" y="74437"/>
                    <a:pt x="155080" y="74437"/>
                  </a:cubicBezTo>
                  <a:cubicBezTo>
                    <a:pt x="110675" y="74437"/>
                    <a:pt x="74458" y="110501"/>
                    <a:pt x="74458" y="154836"/>
                  </a:cubicBezTo>
                  <a:cubicBezTo>
                    <a:pt x="74458" y="183207"/>
                    <a:pt x="89388" y="208115"/>
                    <a:pt x="111638" y="222445"/>
                  </a:cubicBezTo>
                  <a:cubicBezTo>
                    <a:pt x="108556" y="235812"/>
                    <a:pt x="106822" y="250046"/>
                    <a:pt x="106822" y="265145"/>
                  </a:cubicBezTo>
                  <a:cubicBezTo>
                    <a:pt x="106822" y="265337"/>
                    <a:pt x="106822" y="265626"/>
                    <a:pt x="106822" y="265818"/>
                  </a:cubicBezTo>
                  <a:cubicBezTo>
                    <a:pt x="104029" y="264568"/>
                    <a:pt x="100946" y="263606"/>
                    <a:pt x="98153" y="262163"/>
                  </a:cubicBezTo>
                  <a:lnTo>
                    <a:pt x="79659" y="280628"/>
                  </a:lnTo>
                  <a:cubicBezTo>
                    <a:pt x="77251" y="283033"/>
                    <a:pt x="74072" y="284379"/>
                    <a:pt x="70701" y="284379"/>
                  </a:cubicBezTo>
                  <a:cubicBezTo>
                    <a:pt x="67330" y="284379"/>
                    <a:pt x="64055" y="283033"/>
                    <a:pt x="61647" y="280628"/>
                  </a:cubicBezTo>
                  <a:lnTo>
                    <a:pt x="29089" y="248122"/>
                  </a:lnTo>
                  <a:cubicBezTo>
                    <a:pt x="24081" y="243121"/>
                    <a:pt x="24081" y="235043"/>
                    <a:pt x="29089" y="230138"/>
                  </a:cubicBezTo>
                  <a:lnTo>
                    <a:pt x="47583" y="211673"/>
                  </a:lnTo>
                  <a:cubicBezTo>
                    <a:pt x="44020" y="204941"/>
                    <a:pt x="41034" y="197921"/>
                    <a:pt x="38722" y="190612"/>
                  </a:cubicBezTo>
                  <a:lnTo>
                    <a:pt x="12715" y="190612"/>
                  </a:lnTo>
                  <a:cubicBezTo>
                    <a:pt x="5683" y="190612"/>
                    <a:pt x="0" y="184842"/>
                    <a:pt x="0" y="177821"/>
                  </a:cubicBezTo>
                  <a:lnTo>
                    <a:pt x="0" y="131851"/>
                  </a:lnTo>
                  <a:cubicBezTo>
                    <a:pt x="0" y="124831"/>
                    <a:pt x="5683" y="119156"/>
                    <a:pt x="12715" y="119156"/>
                  </a:cubicBezTo>
                  <a:lnTo>
                    <a:pt x="38818" y="119156"/>
                  </a:lnTo>
                  <a:cubicBezTo>
                    <a:pt x="41034" y="111751"/>
                    <a:pt x="44020" y="104731"/>
                    <a:pt x="47583" y="98095"/>
                  </a:cubicBezTo>
                  <a:lnTo>
                    <a:pt x="29089" y="79630"/>
                  </a:lnTo>
                  <a:cubicBezTo>
                    <a:pt x="26681" y="77226"/>
                    <a:pt x="25333" y="73956"/>
                    <a:pt x="25333" y="70590"/>
                  </a:cubicBezTo>
                  <a:cubicBezTo>
                    <a:pt x="25333" y="67224"/>
                    <a:pt x="26681" y="63954"/>
                    <a:pt x="29089" y="61646"/>
                  </a:cubicBezTo>
                  <a:lnTo>
                    <a:pt x="61647" y="29044"/>
                  </a:lnTo>
                  <a:cubicBezTo>
                    <a:pt x="64151" y="26639"/>
                    <a:pt x="67426" y="25389"/>
                    <a:pt x="70701" y="25389"/>
                  </a:cubicBezTo>
                  <a:cubicBezTo>
                    <a:pt x="73976" y="25389"/>
                    <a:pt x="77155" y="26639"/>
                    <a:pt x="79659" y="29140"/>
                  </a:cubicBezTo>
                  <a:lnTo>
                    <a:pt x="98153" y="47509"/>
                  </a:lnTo>
                  <a:cubicBezTo>
                    <a:pt x="104896" y="44047"/>
                    <a:pt x="111927" y="41065"/>
                    <a:pt x="119248" y="38757"/>
                  </a:cubicBezTo>
                  <a:lnTo>
                    <a:pt x="119248" y="12695"/>
                  </a:lnTo>
                  <a:cubicBezTo>
                    <a:pt x="119248" y="5674"/>
                    <a:pt x="125027" y="0"/>
                    <a:pt x="131962" y="0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" name="ValueShape1"/>
            <p:cNvSpPr/>
            <p:nvPr/>
          </p:nvSpPr>
          <p:spPr bwMode="auto">
            <a:xfrm>
              <a:off x="4691989" y="1807381"/>
              <a:ext cx="1017392" cy="3243239"/>
            </a:xfrm>
            <a:custGeom>
              <a:avLst/>
              <a:gdLst>
                <a:gd name="connsiteX0" fmla="*/ 0 w 1017392"/>
                <a:gd name="connsiteY0" fmla="*/ 3107108 h 3243239"/>
                <a:gd name="connsiteX1" fmla="*/ 1017392 w 1017392"/>
                <a:gd name="connsiteY1" fmla="*/ 3107108 h 3243239"/>
                <a:gd name="connsiteX2" fmla="*/ 1017392 w 1017392"/>
                <a:gd name="connsiteY2" fmla="*/ 3243239 h 3243239"/>
                <a:gd name="connsiteX3" fmla="*/ 0 w 1017392"/>
                <a:gd name="connsiteY3" fmla="*/ 3243239 h 3243239"/>
                <a:gd name="connsiteX4" fmla="*/ 0 w 1017392"/>
                <a:gd name="connsiteY4" fmla="*/ 2758424 h 3243239"/>
                <a:gd name="connsiteX5" fmla="*/ 1017392 w 1017392"/>
                <a:gd name="connsiteY5" fmla="*/ 2758424 h 3243239"/>
                <a:gd name="connsiteX6" fmla="*/ 1017392 w 1017392"/>
                <a:gd name="connsiteY6" fmla="*/ 2899332 h 3243239"/>
                <a:gd name="connsiteX7" fmla="*/ 0 w 1017392"/>
                <a:gd name="connsiteY7" fmla="*/ 2899332 h 3243239"/>
                <a:gd name="connsiteX8" fmla="*/ 0 w 1017392"/>
                <a:gd name="connsiteY8" fmla="*/ 2414517 h 3243239"/>
                <a:gd name="connsiteX9" fmla="*/ 1017392 w 1017392"/>
                <a:gd name="connsiteY9" fmla="*/ 2414517 h 3243239"/>
                <a:gd name="connsiteX10" fmla="*/ 1017392 w 1017392"/>
                <a:gd name="connsiteY10" fmla="*/ 2555425 h 3243239"/>
                <a:gd name="connsiteX11" fmla="*/ 0 w 1017392"/>
                <a:gd name="connsiteY11" fmla="*/ 2555425 h 3243239"/>
                <a:gd name="connsiteX12" fmla="*/ 0 w 1017392"/>
                <a:gd name="connsiteY12" fmla="*/ 2072997 h 3243239"/>
                <a:gd name="connsiteX13" fmla="*/ 1017392 w 1017392"/>
                <a:gd name="connsiteY13" fmla="*/ 2072997 h 3243239"/>
                <a:gd name="connsiteX14" fmla="*/ 1017392 w 1017392"/>
                <a:gd name="connsiteY14" fmla="*/ 2206738 h 3243239"/>
                <a:gd name="connsiteX15" fmla="*/ 0 w 1017392"/>
                <a:gd name="connsiteY15" fmla="*/ 2206738 h 3243239"/>
                <a:gd name="connsiteX16" fmla="*/ 0 w 1017392"/>
                <a:gd name="connsiteY16" fmla="*/ 1721926 h 3243239"/>
                <a:gd name="connsiteX17" fmla="*/ 1017392 w 1017392"/>
                <a:gd name="connsiteY17" fmla="*/ 1721926 h 3243239"/>
                <a:gd name="connsiteX18" fmla="*/ 1017392 w 1017392"/>
                <a:gd name="connsiteY18" fmla="*/ 1862834 h 3243239"/>
                <a:gd name="connsiteX19" fmla="*/ 0 w 1017392"/>
                <a:gd name="connsiteY19" fmla="*/ 1862834 h 3243239"/>
                <a:gd name="connsiteX20" fmla="*/ 0 w 1017392"/>
                <a:gd name="connsiteY20" fmla="*/ 1380406 h 3243239"/>
                <a:gd name="connsiteX21" fmla="*/ 1017392 w 1017392"/>
                <a:gd name="connsiteY21" fmla="*/ 1380406 h 3243239"/>
                <a:gd name="connsiteX22" fmla="*/ 1017392 w 1017392"/>
                <a:gd name="connsiteY22" fmla="*/ 1521314 h 3243239"/>
                <a:gd name="connsiteX23" fmla="*/ 0 w 1017392"/>
                <a:gd name="connsiteY23" fmla="*/ 1521314 h 3243239"/>
                <a:gd name="connsiteX24" fmla="*/ 0 w 1017392"/>
                <a:gd name="connsiteY24" fmla="*/ 1036498 h 3243239"/>
                <a:gd name="connsiteX25" fmla="*/ 1017392 w 1017392"/>
                <a:gd name="connsiteY25" fmla="*/ 1036498 h 3243239"/>
                <a:gd name="connsiteX26" fmla="*/ 1017392 w 1017392"/>
                <a:gd name="connsiteY26" fmla="*/ 1170239 h 3243239"/>
                <a:gd name="connsiteX27" fmla="*/ 0 w 1017392"/>
                <a:gd name="connsiteY27" fmla="*/ 1170239 h 3243239"/>
                <a:gd name="connsiteX28" fmla="*/ 0 w 1017392"/>
                <a:gd name="connsiteY28" fmla="*/ 692591 h 3243239"/>
                <a:gd name="connsiteX29" fmla="*/ 1017392 w 1017392"/>
                <a:gd name="connsiteY29" fmla="*/ 692591 h 3243239"/>
                <a:gd name="connsiteX30" fmla="*/ 1017392 w 1017392"/>
                <a:gd name="connsiteY30" fmla="*/ 828722 h 3243239"/>
                <a:gd name="connsiteX31" fmla="*/ 0 w 1017392"/>
                <a:gd name="connsiteY31" fmla="*/ 828722 h 3243239"/>
                <a:gd name="connsiteX32" fmla="*/ 0 w 1017392"/>
                <a:gd name="connsiteY32" fmla="*/ 343907 h 3243239"/>
                <a:gd name="connsiteX33" fmla="*/ 1017392 w 1017392"/>
                <a:gd name="connsiteY33" fmla="*/ 343907 h 3243239"/>
                <a:gd name="connsiteX34" fmla="*/ 1017392 w 1017392"/>
                <a:gd name="connsiteY34" fmla="*/ 484815 h 3243239"/>
                <a:gd name="connsiteX35" fmla="*/ 0 w 1017392"/>
                <a:gd name="connsiteY35" fmla="*/ 484815 h 3243239"/>
                <a:gd name="connsiteX36" fmla="*/ 0 w 1017392"/>
                <a:gd name="connsiteY36" fmla="*/ 0 h 3243239"/>
                <a:gd name="connsiteX37" fmla="*/ 1017392 w 1017392"/>
                <a:gd name="connsiteY37" fmla="*/ 0 h 3243239"/>
                <a:gd name="connsiteX38" fmla="*/ 1017392 w 1017392"/>
                <a:gd name="connsiteY38" fmla="*/ 140908 h 3243239"/>
                <a:gd name="connsiteX39" fmla="*/ 0 w 1017392"/>
                <a:gd name="connsiteY39" fmla="*/ 140908 h 3243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017392" h="3243239">
                  <a:moveTo>
                    <a:pt x="0" y="3107108"/>
                  </a:moveTo>
                  <a:lnTo>
                    <a:pt x="1017392" y="3107108"/>
                  </a:lnTo>
                  <a:lnTo>
                    <a:pt x="1017392" y="3243239"/>
                  </a:lnTo>
                  <a:lnTo>
                    <a:pt x="0" y="3243239"/>
                  </a:lnTo>
                  <a:close/>
                  <a:moveTo>
                    <a:pt x="0" y="2758424"/>
                  </a:moveTo>
                  <a:lnTo>
                    <a:pt x="1017392" y="2758424"/>
                  </a:lnTo>
                  <a:lnTo>
                    <a:pt x="1017392" y="2899332"/>
                  </a:lnTo>
                  <a:lnTo>
                    <a:pt x="0" y="2899332"/>
                  </a:lnTo>
                  <a:close/>
                  <a:moveTo>
                    <a:pt x="0" y="2414517"/>
                  </a:moveTo>
                  <a:lnTo>
                    <a:pt x="1017392" y="2414517"/>
                  </a:lnTo>
                  <a:lnTo>
                    <a:pt x="1017392" y="2555425"/>
                  </a:lnTo>
                  <a:lnTo>
                    <a:pt x="0" y="2555425"/>
                  </a:lnTo>
                  <a:close/>
                  <a:moveTo>
                    <a:pt x="0" y="2072997"/>
                  </a:moveTo>
                  <a:lnTo>
                    <a:pt x="1017392" y="2072997"/>
                  </a:lnTo>
                  <a:lnTo>
                    <a:pt x="1017392" y="2206738"/>
                  </a:lnTo>
                  <a:lnTo>
                    <a:pt x="0" y="2206738"/>
                  </a:lnTo>
                  <a:close/>
                  <a:moveTo>
                    <a:pt x="0" y="1721926"/>
                  </a:moveTo>
                  <a:lnTo>
                    <a:pt x="1017392" y="1721926"/>
                  </a:lnTo>
                  <a:lnTo>
                    <a:pt x="1017392" y="1862834"/>
                  </a:lnTo>
                  <a:lnTo>
                    <a:pt x="0" y="1862834"/>
                  </a:lnTo>
                  <a:close/>
                  <a:moveTo>
                    <a:pt x="0" y="1380406"/>
                  </a:moveTo>
                  <a:lnTo>
                    <a:pt x="1017392" y="1380406"/>
                  </a:lnTo>
                  <a:lnTo>
                    <a:pt x="1017392" y="1521314"/>
                  </a:lnTo>
                  <a:lnTo>
                    <a:pt x="0" y="1521314"/>
                  </a:lnTo>
                  <a:close/>
                  <a:moveTo>
                    <a:pt x="0" y="1036498"/>
                  </a:moveTo>
                  <a:lnTo>
                    <a:pt x="1017392" y="1036498"/>
                  </a:lnTo>
                  <a:lnTo>
                    <a:pt x="1017392" y="1170239"/>
                  </a:lnTo>
                  <a:lnTo>
                    <a:pt x="0" y="1170239"/>
                  </a:lnTo>
                  <a:close/>
                  <a:moveTo>
                    <a:pt x="0" y="692591"/>
                  </a:moveTo>
                  <a:lnTo>
                    <a:pt x="1017392" y="692591"/>
                  </a:lnTo>
                  <a:lnTo>
                    <a:pt x="1017392" y="828722"/>
                  </a:lnTo>
                  <a:lnTo>
                    <a:pt x="0" y="828722"/>
                  </a:lnTo>
                  <a:close/>
                  <a:moveTo>
                    <a:pt x="0" y="343907"/>
                  </a:moveTo>
                  <a:lnTo>
                    <a:pt x="1017392" y="343907"/>
                  </a:lnTo>
                  <a:lnTo>
                    <a:pt x="1017392" y="484815"/>
                  </a:lnTo>
                  <a:lnTo>
                    <a:pt x="0" y="484815"/>
                  </a:lnTo>
                  <a:close/>
                  <a:moveTo>
                    <a:pt x="0" y="0"/>
                  </a:moveTo>
                  <a:lnTo>
                    <a:pt x="1017392" y="0"/>
                  </a:lnTo>
                  <a:lnTo>
                    <a:pt x="1017392" y="140908"/>
                  </a:lnTo>
                  <a:lnTo>
                    <a:pt x="0" y="14090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100000"/>
                  </a:schemeClr>
                </a:gs>
                <a:gs pos="100000">
                  <a:srgbClr val="002774"/>
                </a:gs>
                <a:gs pos="59615">
                  <a:schemeClr val="accent1">
                    <a:lumMod val="100000"/>
                  </a:schemeClr>
                </a:gs>
                <a:gs pos="59715">
                  <a:srgbClr val="002774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6" name="ValueShape2"/>
            <p:cNvSpPr/>
            <p:nvPr/>
          </p:nvSpPr>
          <p:spPr bwMode="auto">
            <a:xfrm flipH="1">
              <a:off x="6302519" y="1807381"/>
              <a:ext cx="1017393" cy="3243239"/>
            </a:xfrm>
            <a:custGeom>
              <a:avLst/>
              <a:gdLst>
                <a:gd name="connsiteX0" fmla="*/ 1017393 w 1017393"/>
                <a:gd name="connsiteY0" fmla="*/ 3107108 h 3243239"/>
                <a:gd name="connsiteX1" fmla="*/ 0 w 1017393"/>
                <a:gd name="connsiteY1" fmla="*/ 3107108 h 3243239"/>
                <a:gd name="connsiteX2" fmla="*/ 0 w 1017393"/>
                <a:gd name="connsiteY2" fmla="*/ 3243239 h 3243239"/>
                <a:gd name="connsiteX3" fmla="*/ 1017393 w 1017393"/>
                <a:gd name="connsiteY3" fmla="*/ 3243239 h 3243239"/>
                <a:gd name="connsiteX4" fmla="*/ 1017393 w 1017393"/>
                <a:gd name="connsiteY4" fmla="*/ 2758425 h 3243239"/>
                <a:gd name="connsiteX5" fmla="*/ 0 w 1017393"/>
                <a:gd name="connsiteY5" fmla="*/ 2758425 h 3243239"/>
                <a:gd name="connsiteX6" fmla="*/ 0 w 1017393"/>
                <a:gd name="connsiteY6" fmla="*/ 2899333 h 3243239"/>
                <a:gd name="connsiteX7" fmla="*/ 1017393 w 1017393"/>
                <a:gd name="connsiteY7" fmla="*/ 2899333 h 3243239"/>
                <a:gd name="connsiteX8" fmla="*/ 1017393 w 1017393"/>
                <a:gd name="connsiteY8" fmla="*/ 2414517 h 3243239"/>
                <a:gd name="connsiteX9" fmla="*/ 0 w 1017393"/>
                <a:gd name="connsiteY9" fmla="*/ 2414517 h 3243239"/>
                <a:gd name="connsiteX10" fmla="*/ 0 w 1017393"/>
                <a:gd name="connsiteY10" fmla="*/ 2555425 h 3243239"/>
                <a:gd name="connsiteX11" fmla="*/ 1017393 w 1017393"/>
                <a:gd name="connsiteY11" fmla="*/ 2555425 h 3243239"/>
                <a:gd name="connsiteX12" fmla="*/ 1017393 w 1017393"/>
                <a:gd name="connsiteY12" fmla="*/ 2072997 h 3243239"/>
                <a:gd name="connsiteX13" fmla="*/ 0 w 1017393"/>
                <a:gd name="connsiteY13" fmla="*/ 2072997 h 3243239"/>
                <a:gd name="connsiteX14" fmla="*/ 0 w 1017393"/>
                <a:gd name="connsiteY14" fmla="*/ 2206739 h 3243239"/>
                <a:gd name="connsiteX15" fmla="*/ 1017393 w 1017393"/>
                <a:gd name="connsiteY15" fmla="*/ 2206739 h 3243239"/>
                <a:gd name="connsiteX16" fmla="*/ 1017393 w 1017393"/>
                <a:gd name="connsiteY16" fmla="*/ 1721926 h 3243239"/>
                <a:gd name="connsiteX17" fmla="*/ 0 w 1017393"/>
                <a:gd name="connsiteY17" fmla="*/ 1721926 h 3243239"/>
                <a:gd name="connsiteX18" fmla="*/ 0 w 1017393"/>
                <a:gd name="connsiteY18" fmla="*/ 1862834 h 3243239"/>
                <a:gd name="connsiteX19" fmla="*/ 1017393 w 1017393"/>
                <a:gd name="connsiteY19" fmla="*/ 1862834 h 3243239"/>
                <a:gd name="connsiteX20" fmla="*/ 1017393 w 1017393"/>
                <a:gd name="connsiteY20" fmla="*/ 1380407 h 3243239"/>
                <a:gd name="connsiteX21" fmla="*/ 0 w 1017393"/>
                <a:gd name="connsiteY21" fmla="*/ 1380407 h 3243239"/>
                <a:gd name="connsiteX22" fmla="*/ 0 w 1017393"/>
                <a:gd name="connsiteY22" fmla="*/ 1521315 h 3243239"/>
                <a:gd name="connsiteX23" fmla="*/ 1017393 w 1017393"/>
                <a:gd name="connsiteY23" fmla="*/ 1521315 h 3243239"/>
                <a:gd name="connsiteX24" fmla="*/ 1017393 w 1017393"/>
                <a:gd name="connsiteY24" fmla="*/ 1036498 h 3243239"/>
                <a:gd name="connsiteX25" fmla="*/ 0 w 1017393"/>
                <a:gd name="connsiteY25" fmla="*/ 1036498 h 3243239"/>
                <a:gd name="connsiteX26" fmla="*/ 0 w 1017393"/>
                <a:gd name="connsiteY26" fmla="*/ 1170240 h 3243239"/>
                <a:gd name="connsiteX27" fmla="*/ 1017393 w 1017393"/>
                <a:gd name="connsiteY27" fmla="*/ 1170240 h 3243239"/>
                <a:gd name="connsiteX28" fmla="*/ 1017393 w 1017393"/>
                <a:gd name="connsiteY28" fmla="*/ 692591 h 3243239"/>
                <a:gd name="connsiteX29" fmla="*/ 0 w 1017393"/>
                <a:gd name="connsiteY29" fmla="*/ 692591 h 3243239"/>
                <a:gd name="connsiteX30" fmla="*/ 0 w 1017393"/>
                <a:gd name="connsiteY30" fmla="*/ 828722 h 3243239"/>
                <a:gd name="connsiteX31" fmla="*/ 1017393 w 1017393"/>
                <a:gd name="connsiteY31" fmla="*/ 828722 h 3243239"/>
                <a:gd name="connsiteX32" fmla="*/ 1017393 w 1017393"/>
                <a:gd name="connsiteY32" fmla="*/ 343907 h 3243239"/>
                <a:gd name="connsiteX33" fmla="*/ 0 w 1017393"/>
                <a:gd name="connsiteY33" fmla="*/ 343907 h 3243239"/>
                <a:gd name="connsiteX34" fmla="*/ 0 w 1017393"/>
                <a:gd name="connsiteY34" fmla="*/ 484815 h 3243239"/>
                <a:gd name="connsiteX35" fmla="*/ 1017393 w 1017393"/>
                <a:gd name="connsiteY35" fmla="*/ 484815 h 3243239"/>
                <a:gd name="connsiteX36" fmla="*/ 1017393 w 1017393"/>
                <a:gd name="connsiteY36" fmla="*/ 0 h 3243239"/>
                <a:gd name="connsiteX37" fmla="*/ 0 w 1017393"/>
                <a:gd name="connsiteY37" fmla="*/ 0 h 3243239"/>
                <a:gd name="connsiteX38" fmla="*/ 0 w 1017393"/>
                <a:gd name="connsiteY38" fmla="*/ 140908 h 3243239"/>
                <a:gd name="connsiteX39" fmla="*/ 1017393 w 1017393"/>
                <a:gd name="connsiteY39" fmla="*/ 140908 h 3243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017393" h="3243239">
                  <a:moveTo>
                    <a:pt x="1017393" y="3107108"/>
                  </a:moveTo>
                  <a:lnTo>
                    <a:pt x="0" y="3107108"/>
                  </a:lnTo>
                  <a:lnTo>
                    <a:pt x="0" y="3243239"/>
                  </a:lnTo>
                  <a:lnTo>
                    <a:pt x="1017393" y="3243239"/>
                  </a:lnTo>
                  <a:close/>
                  <a:moveTo>
                    <a:pt x="1017393" y="2758425"/>
                  </a:moveTo>
                  <a:lnTo>
                    <a:pt x="0" y="2758425"/>
                  </a:lnTo>
                  <a:lnTo>
                    <a:pt x="0" y="2899333"/>
                  </a:lnTo>
                  <a:lnTo>
                    <a:pt x="1017393" y="2899333"/>
                  </a:lnTo>
                  <a:close/>
                  <a:moveTo>
                    <a:pt x="1017393" y="2414517"/>
                  </a:moveTo>
                  <a:lnTo>
                    <a:pt x="0" y="2414517"/>
                  </a:lnTo>
                  <a:lnTo>
                    <a:pt x="0" y="2555425"/>
                  </a:lnTo>
                  <a:lnTo>
                    <a:pt x="1017393" y="2555425"/>
                  </a:lnTo>
                  <a:close/>
                  <a:moveTo>
                    <a:pt x="1017393" y="2072997"/>
                  </a:moveTo>
                  <a:lnTo>
                    <a:pt x="0" y="2072997"/>
                  </a:lnTo>
                  <a:lnTo>
                    <a:pt x="0" y="2206739"/>
                  </a:lnTo>
                  <a:lnTo>
                    <a:pt x="1017393" y="2206739"/>
                  </a:lnTo>
                  <a:close/>
                  <a:moveTo>
                    <a:pt x="1017393" y="1721926"/>
                  </a:moveTo>
                  <a:lnTo>
                    <a:pt x="0" y="1721926"/>
                  </a:lnTo>
                  <a:lnTo>
                    <a:pt x="0" y="1862834"/>
                  </a:lnTo>
                  <a:lnTo>
                    <a:pt x="1017393" y="1862834"/>
                  </a:lnTo>
                  <a:close/>
                  <a:moveTo>
                    <a:pt x="1017393" y="1380407"/>
                  </a:moveTo>
                  <a:lnTo>
                    <a:pt x="0" y="1380407"/>
                  </a:lnTo>
                  <a:lnTo>
                    <a:pt x="0" y="1521315"/>
                  </a:lnTo>
                  <a:lnTo>
                    <a:pt x="1017393" y="1521315"/>
                  </a:lnTo>
                  <a:close/>
                  <a:moveTo>
                    <a:pt x="1017393" y="1036498"/>
                  </a:moveTo>
                  <a:lnTo>
                    <a:pt x="0" y="1036498"/>
                  </a:lnTo>
                  <a:lnTo>
                    <a:pt x="0" y="1170240"/>
                  </a:lnTo>
                  <a:lnTo>
                    <a:pt x="1017393" y="1170240"/>
                  </a:lnTo>
                  <a:close/>
                  <a:moveTo>
                    <a:pt x="1017393" y="692591"/>
                  </a:moveTo>
                  <a:lnTo>
                    <a:pt x="0" y="692591"/>
                  </a:lnTo>
                  <a:lnTo>
                    <a:pt x="0" y="828722"/>
                  </a:lnTo>
                  <a:lnTo>
                    <a:pt x="1017393" y="828722"/>
                  </a:lnTo>
                  <a:close/>
                  <a:moveTo>
                    <a:pt x="1017393" y="343907"/>
                  </a:moveTo>
                  <a:lnTo>
                    <a:pt x="0" y="343907"/>
                  </a:lnTo>
                  <a:lnTo>
                    <a:pt x="0" y="484815"/>
                  </a:lnTo>
                  <a:lnTo>
                    <a:pt x="1017393" y="484815"/>
                  </a:lnTo>
                  <a:close/>
                  <a:moveTo>
                    <a:pt x="1017393" y="0"/>
                  </a:moveTo>
                  <a:lnTo>
                    <a:pt x="0" y="0"/>
                  </a:lnTo>
                  <a:lnTo>
                    <a:pt x="0" y="140908"/>
                  </a:lnTo>
                  <a:lnTo>
                    <a:pt x="1017393" y="14090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lumMod val="100000"/>
                  </a:schemeClr>
                </a:gs>
                <a:gs pos="100000">
                  <a:srgbClr val="002774"/>
                </a:gs>
                <a:gs pos="71154">
                  <a:schemeClr val="accent4">
                    <a:lumMod val="100000"/>
                  </a:schemeClr>
                </a:gs>
                <a:gs pos="71254">
                  <a:srgbClr val="002774"/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7" name="ValueBack1"/>
            <p:cNvSpPr/>
            <p:nvPr/>
          </p:nvSpPr>
          <p:spPr bwMode="auto">
            <a:xfrm>
              <a:off x="4294927" y="4106068"/>
              <a:ext cx="272260" cy="372566"/>
            </a:xfrm>
            <a:custGeom>
              <a:avLst/>
              <a:gdLst>
                <a:gd name="T0" fmla="*/ 0 w 114"/>
                <a:gd name="T1" fmla="*/ 0 h 156"/>
                <a:gd name="T2" fmla="*/ 114 w 114"/>
                <a:gd name="T3" fmla="*/ 78 h 156"/>
                <a:gd name="T4" fmla="*/ 0 w 114"/>
                <a:gd name="T5" fmla="*/ 156 h 156"/>
                <a:gd name="T6" fmla="*/ 0 w 114"/>
                <a:gd name="T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4" h="156">
                  <a:moveTo>
                    <a:pt x="0" y="0"/>
                  </a:moveTo>
                  <a:lnTo>
                    <a:pt x="114" y="78"/>
                  </a:lnTo>
                  <a:lnTo>
                    <a:pt x="0" y="15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" name="ValueBack2"/>
            <p:cNvSpPr/>
            <p:nvPr/>
          </p:nvSpPr>
          <p:spPr bwMode="auto">
            <a:xfrm flipH="1">
              <a:off x="7444712" y="2725367"/>
              <a:ext cx="272260" cy="372566"/>
            </a:xfrm>
            <a:custGeom>
              <a:avLst/>
              <a:gdLst>
                <a:gd name="T0" fmla="*/ 0 w 114"/>
                <a:gd name="T1" fmla="*/ 0 h 156"/>
                <a:gd name="T2" fmla="*/ 114 w 114"/>
                <a:gd name="T3" fmla="*/ 78 h 156"/>
                <a:gd name="T4" fmla="*/ 0 w 114"/>
                <a:gd name="T5" fmla="*/ 156 h 156"/>
                <a:gd name="T6" fmla="*/ 0 w 114"/>
                <a:gd name="T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4" h="156">
                  <a:moveTo>
                    <a:pt x="0" y="0"/>
                  </a:moveTo>
                  <a:lnTo>
                    <a:pt x="114" y="78"/>
                  </a:lnTo>
                  <a:lnTo>
                    <a:pt x="0" y="15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" name="ValueText1"/>
            <p:cNvSpPr txBox="1"/>
            <p:nvPr/>
          </p:nvSpPr>
          <p:spPr>
            <a:xfrm>
              <a:off x="3252215" y="3994995"/>
              <a:ext cx="846633" cy="599472"/>
            </a:xfrm>
            <a:prstGeom prst="rect">
              <a:avLst/>
            </a:prstGeom>
            <a:noFill/>
            <a:ln>
              <a:noFill/>
            </a:ln>
          </p:spPr>
          <p:txBody>
            <a:bodyPr wrap="none" tIns="90000" bIns="90000" anchor="ctr" anchorCtr="0">
              <a:prstTxWarp prst="textPlain">
                <a:avLst/>
              </a:prstTxWarp>
              <a:noAutofit/>
            </a:bodyPr>
            <a:lstStyle/>
            <a:p>
              <a:r>
                <a:rPr lang="en-US" sz="1600" dirty="0">
                  <a:solidFill>
                    <a:schemeClr val="accent1">
                      <a:lumMod val="100000"/>
                    </a:schemeClr>
                  </a:solidFill>
                  <a:latin typeface="Impact" panose="020B0806030902050204" pitchFamily="34" charset="0"/>
                </a:rPr>
                <a:t>60%</a:t>
              </a:r>
              <a:endParaRPr lang="en-US" sz="1600" dirty="0">
                <a:solidFill>
                  <a:schemeClr val="accent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0" name="ValueText2"/>
            <p:cNvSpPr txBox="1"/>
            <p:nvPr/>
          </p:nvSpPr>
          <p:spPr>
            <a:xfrm>
              <a:off x="7913052" y="2614295"/>
              <a:ext cx="846634" cy="599472"/>
            </a:xfrm>
            <a:prstGeom prst="rect">
              <a:avLst/>
            </a:prstGeom>
            <a:noFill/>
            <a:ln>
              <a:noFill/>
            </a:ln>
          </p:spPr>
          <p:txBody>
            <a:bodyPr wrap="none" tIns="90000" bIns="90000" anchor="ctr" anchorCtr="0">
              <a:prstTxWarp prst="textPlain">
                <a:avLst/>
              </a:prstTxWarp>
              <a:noAutofit/>
            </a:bodyPr>
            <a:lstStyle/>
            <a:p>
              <a:r>
                <a:rPr lang="en-US" sz="1600" dirty="0">
                  <a:solidFill>
                    <a:schemeClr val="accent4">
                      <a:lumMod val="100000"/>
                    </a:schemeClr>
                  </a:solidFill>
                  <a:latin typeface="Impact" panose="020B0806030902050204" pitchFamily="34" charset="0"/>
                </a:rPr>
                <a:t>71%</a:t>
              </a:r>
              <a:endParaRPr lang="en-US" sz="1600" dirty="0">
                <a:solidFill>
                  <a:schemeClr val="accent4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1" name="CustomText"/>
            <p:cNvSpPr/>
            <p:nvPr/>
          </p:nvSpPr>
          <p:spPr>
            <a:xfrm>
              <a:off x="3261402" y="4630299"/>
              <a:ext cx="1305785" cy="406998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noAutofit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000" b="1" kern="1200" cap="none" normalizeH="0" baseline="0" noProof="0" dirty="0"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</a:rPr>
                <a:t>text here</a:t>
              </a:r>
              <a:endParaRPr kumimoji="0" lang="en-US" altLang="zh-CN" sz="2000" b="1" kern="1200" cap="none" normalizeH="0" baseline="0" noProof="0" dirty="0">
                <a:solidFill>
                  <a:schemeClr val="tx2">
                    <a:lumMod val="60000"/>
                    <a:lumOff val="40000"/>
                  </a:schemeClr>
                </a:solidFill>
                <a:effectLst/>
                <a:uLnTx/>
                <a:uFillTx/>
              </a:endParaRPr>
            </a:p>
          </p:txBody>
        </p:sp>
        <p:sp>
          <p:nvSpPr>
            <p:cNvPr id="12" name="CustomText"/>
            <p:cNvSpPr/>
            <p:nvPr/>
          </p:nvSpPr>
          <p:spPr>
            <a:xfrm>
              <a:off x="7913054" y="3249598"/>
              <a:ext cx="1195542" cy="406998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noAutofit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000" b="1" kern="1200" cap="none" normalizeH="0" baseline="0" noProof="0" dirty="0"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</a:rPr>
                <a:t>text here</a:t>
              </a:r>
              <a:endParaRPr kumimoji="0" lang="en-US" altLang="zh-CN" sz="2000" b="1" kern="1200" cap="none" normalizeH="0" baseline="0" noProof="0" dirty="0">
                <a:solidFill>
                  <a:schemeClr val="tx2">
                    <a:lumMod val="60000"/>
                    <a:lumOff val="40000"/>
                  </a:schemeClr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5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16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4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单元测试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ľî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šliḑê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Egg.js内置对象</a:t>
            </a:r>
            <a:endParaRPr lang="en-US" altLang="zh-CN" dirty="0"/>
          </a:p>
        </p:txBody>
      </p:sp>
      <p:sp>
        <p:nvSpPr>
          <p:cNvPr id="6" name="îṥḷiḋê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CN" altLang="en-US" dirty="0"/>
              <a:t>框架继承</a:t>
            </a:r>
            <a:r>
              <a:rPr lang="en-US" altLang="zh-CN" dirty="0"/>
              <a:t>Koa</a:t>
            </a:r>
            <a:r>
              <a:rPr lang="zh-CN" altLang="en-US" dirty="0"/>
              <a:t>的内置对象（Application, Context, Request, Response) </a:t>
            </a:r>
            <a:r>
              <a:rPr lang="en-US" altLang="zh-CN" dirty="0"/>
              <a:t>.</a:t>
            </a:r>
            <a:endParaRPr lang="en-US" altLang="zh-CN" dirty="0"/>
          </a:p>
          <a:p>
            <a:pPr lvl="0"/>
            <a:r>
              <a:rPr lang="zh-CN" altLang="en-US" dirty="0"/>
              <a:t>框架扩展的内置对象（Controller, Service, Helper, Config, Logger）</a:t>
            </a:r>
            <a:r>
              <a:rPr lang="en-US" altLang="zh-CN" dirty="0"/>
              <a:t>.</a:t>
            </a:r>
            <a:endParaRPr lang="zh-CN" altLang="en-US" dirty="0"/>
          </a:p>
        </p:txBody>
      </p:sp>
      <p:sp>
        <p:nvSpPr>
          <p:cNvPr id="9" name="íślíde"/>
          <p:cNvSpPr txBox="1"/>
          <p:nvPr/>
        </p:nvSpPr>
        <p:spPr>
          <a:xfrm>
            <a:off x="876697" y="2279537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f44eb29d-4f85-4efb-9455-b9e19d476237" descr="5xUAAB+LCAAAAAAABADNWF2PojAU/S/d2TdjaJEivumok32YnUk0+7LxgYWq3UUwBZMxE//7FoTxVj4GRhnHB2Jv74XTc08P1Vd0x100QBh10F203zL5fbaxRTTm9krYm8fAZZ6cexbBlomIsxANfr+mRQQU/bK9HUuz9jL+yH2+2W2SMBpoXU2G7BcQwloSHDOHb2xvzFc8kveWkR/hMxMO86M0MRI71kHpwMBdi+iaSdOrRjvoQQS7bbKGQyeDpgNo94EXCAAtvVWW2gOpT8sld9h8zTYsqZJTc+5HQ9+drW03W8hI8NU68lkYpoGnP3+ZE4GygSELk1sm6btwLW/+bSo/lqVpEmchaKM+aHoh6H4j0JPJmJaBNqFyIsH9VR410r6j4uo+qB4FgcdsP19+VEBRufX5Cuxr3Tf1xdeecYJGADSs1e8mxm1o0Cxr5/1Q1aACmzSArbehwlLYU6qqUIHdayxDpdxorkOlnn6+EKne7VFs6P302gNWqENsZoOO9tsQIi3uKJmMxtMp7KgC26oPm2htCLEE9phOSTlsghsLUSknzYUo6xcSIfdd+TDl/Qz354OwXS6llOYl73QpN7FXuY05FWyZwkIz5gS+W5FlxFkFcZLEbXmEYBETYTJzhgTMZkyjKffi48bQX3lZp2TXtuynzIyXdmQgCWG0OOQPJqenKwtR8N4ibQF6DL1qzl5AS84Ec6LTbE5zQlKokFxAZfz82kxWDuAKcycZqLpipRUv4ii7AqHEuGOhOLE9yi0fsijdqNm+fgvGIoIOoEx8gBK9tM/nA0gJbZ2SbO+0QMnIdv5dnxLzEnvCWi1/wqRk51itGxSpIMyCtCRLURHfLhE2qN/cqORBrDHf9Z2qNqWVA7jE3CmjclseRfe1rKqKk7P2vjMCvOi5Xy/X56Vlv2qHF3yRZ5n1PMsq2UOYtm5aehVrVGHGVEaqrdwgE3aJNDcugj9Aen3nasDrOyO4ztzfXNW71Px67lXJi1nR8dwI8tJrn5eW3euavCwO/wEj3HCH5xUAAA=="/>
          <p:cNvGrpSpPr>
            <a:grpSpLocks noChangeAspect="1"/>
          </p:cNvGrpSpPr>
          <p:nvPr/>
        </p:nvGrpSpPr>
        <p:grpSpPr>
          <a:xfrm>
            <a:off x="1899053" y="1757611"/>
            <a:ext cx="8393894" cy="3342779"/>
            <a:chOff x="1899053" y="1757611"/>
            <a:chExt cx="8393894" cy="3342779"/>
          </a:xfrm>
        </p:grpSpPr>
        <p:sp>
          <p:nvSpPr>
            <p:cNvPr id="3" name="ExtraShape"/>
            <p:cNvSpPr/>
            <p:nvPr/>
          </p:nvSpPr>
          <p:spPr bwMode="auto">
            <a:xfrm>
              <a:off x="3004277" y="2877176"/>
              <a:ext cx="407956" cy="415442"/>
            </a:xfrm>
            <a:custGeom>
              <a:avLst/>
              <a:gdLst>
                <a:gd name="T0" fmla="*/ 0 w 262"/>
                <a:gd name="T1" fmla="*/ 249 h 267"/>
                <a:gd name="T2" fmla="*/ 131 w 262"/>
                <a:gd name="T3" fmla="*/ 267 h 267"/>
                <a:gd name="T4" fmla="*/ 262 w 262"/>
                <a:gd name="T5" fmla="*/ 249 h 267"/>
                <a:gd name="T6" fmla="*/ 131 w 262"/>
                <a:gd name="T7" fmla="*/ 0 h 267"/>
                <a:gd name="T8" fmla="*/ 0 w 262"/>
                <a:gd name="T9" fmla="*/ 249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67">
                  <a:moveTo>
                    <a:pt x="0" y="249"/>
                  </a:moveTo>
                  <a:cubicBezTo>
                    <a:pt x="42" y="260"/>
                    <a:pt x="86" y="267"/>
                    <a:pt x="131" y="267"/>
                  </a:cubicBezTo>
                  <a:cubicBezTo>
                    <a:pt x="176" y="267"/>
                    <a:pt x="220" y="260"/>
                    <a:pt x="262" y="249"/>
                  </a:cubicBezTo>
                  <a:cubicBezTo>
                    <a:pt x="244" y="153"/>
                    <a:pt x="197" y="67"/>
                    <a:pt x="131" y="0"/>
                  </a:cubicBezTo>
                  <a:cubicBezTo>
                    <a:pt x="65" y="67"/>
                    <a:pt x="19" y="153"/>
                    <a:pt x="0" y="249"/>
                  </a:cubicBezTo>
                  <a:close/>
                </a:path>
              </a:pathLst>
            </a:custGeom>
            <a:solidFill>
              <a:srgbClr val="F8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" name="ValueBack1"/>
            <p:cNvSpPr/>
            <p:nvPr/>
          </p:nvSpPr>
          <p:spPr bwMode="auto">
            <a:xfrm>
              <a:off x="1923754" y="2673080"/>
              <a:ext cx="1502328" cy="1471637"/>
            </a:xfrm>
            <a:custGeom>
              <a:avLst/>
              <a:gdLst>
                <a:gd name="connsiteX0" fmla="*/ 1081403 w 1502328"/>
                <a:gd name="connsiteY0" fmla="*/ 580871 h 1471637"/>
                <a:gd name="connsiteX1" fmla="*/ 1284876 w 1502328"/>
                <a:gd name="connsiteY1" fmla="*/ 608853 h 1471637"/>
                <a:gd name="connsiteX2" fmla="*/ 1488349 w 1502328"/>
                <a:gd name="connsiteY2" fmla="*/ 580871 h 1471637"/>
                <a:gd name="connsiteX3" fmla="*/ 1502328 w 1502328"/>
                <a:gd name="connsiteY3" fmla="*/ 720779 h 1471637"/>
                <a:gd name="connsiteX4" fmla="*/ 1284876 w 1502328"/>
                <a:gd name="connsiteY4" fmla="*/ 1249321 h 1471637"/>
                <a:gd name="connsiteX5" fmla="*/ 1067424 w 1502328"/>
                <a:gd name="connsiteY5" fmla="*/ 720779 h 1471637"/>
                <a:gd name="connsiteX6" fmla="*/ 1081403 w 1502328"/>
                <a:gd name="connsiteY6" fmla="*/ 580871 h 1471637"/>
                <a:gd name="connsiteX7" fmla="*/ 547390 w 1502328"/>
                <a:gd name="connsiteY7" fmla="*/ 0 h 1471637"/>
                <a:gd name="connsiteX8" fmla="*/ 1080785 w 1502328"/>
                <a:gd name="connsiteY8" fmla="*/ 581196 h 1471637"/>
                <a:gd name="connsiteX9" fmla="*/ 1066789 w 1502328"/>
                <a:gd name="connsiteY9" fmla="*/ 721056 h 1471637"/>
                <a:gd name="connsiteX10" fmla="*/ 1284501 w 1502328"/>
                <a:gd name="connsiteY10" fmla="*/ 1249415 h 1471637"/>
                <a:gd name="connsiteX11" fmla="*/ 751107 w 1502328"/>
                <a:gd name="connsiteY11" fmla="*/ 1471637 h 1471637"/>
                <a:gd name="connsiteX12" fmla="*/ 0 w 1502328"/>
                <a:gd name="connsiteY12" fmla="*/ 721056 h 1471637"/>
                <a:gd name="connsiteX13" fmla="*/ 547390 w 1502328"/>
                <a:gd name="connsiteY13" fmla="*/ 0 h 1471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02328" h="1471637">
                  <a:moveTo>
                    <a:pt x="1081403" y="580871"/>
                  </a:moveTo>
                  <a:cubicBezTo>
                    <a:pt x="1146639" y="597971"/>
                    <a:pt x="1214981" y="608853"/>
                    <a:pt x="1284876" y="608853"/>
                  </a:cubicBezTo>
                  <a:cubicBezTo>
                    <a:pt x="1354771" y="608853"/>
                    <a:pt x="1423113" y="597971"/>
                    <a:pt x="1488349" y="580871"/>
                  </a:cubicBezTo>
                  <a:cubicBezTo>
                    <a:pt x="1496115" y="625953"/>
                    <a:pt x="1502328" y="672589"/>
                    <a:pt x="1502328" y="720779"/>
                  </a:cubicBezTo>
                  <a:cubicBezTo>
                    <a:pt x="1502328" y="927532"/>
                    <a:pt x="1418454" y="1112522"/>
                    <a:pt x="1284876" y="1249321"/>
                  </a:cubicBezTo>
                  <a:cubicBezTo>
                    <a:pt x="1151298" y="1112522"/>
                    <a:pt x="1067424" y="927532"/>
                    <a:pt x="1067424" y="720779"/>
                  </a:cubicBezTo>
                  <a:cubicBezTo>
                    <a:pt x="1067424" y="672589"/>
                    <a:pt x="1073637" y="625953"/>
                    <a:pt x="1081403" y="580871"/>
                  </a:cubicBezTo>
                  <a:close/>
                  <a:moveTo>
                    <a:pt x="547390" y="0"/>
                  </a:moveTo>
                  <a:cubicBezTo>
                    <a:pt x="601818" y="279720"/>
                    <a:pt x="810200" y="505050"/>
                    <a:pt x="1080785" y="581196"/>
                  </a:cubicBezTo>
                  <a:cubicBezTo>
                    <a:pt x="1073009" y="626262"/>
                    <a:pt x="1066789" y="672882"/>
                    <a:pt x="1066789" y="721056"/>
                  </a:cubicBezTo>
                  <a:cubicBezTo>
                    <a:pt x="1066789" y="927738"/>
                    <a:pt x="1150764" y="1112663"/>
                    <a:pt x="1284501" y="1249415"/>
                  </a:cubicBezTo>
                  <a:cubicBezTo>
                    <a:pt x="1149209" y="1386167"/>
                    <a:pt x="959488" y="1471637"/>
                    <a:pt x="751107" y="1471637"/>
                  </a:cubicBezTo>
                  <a:cubicBezTo>
                    <a:pt x="335899" y="1471637"/>
                    <a:pt x="0" y="1135973"/>
                    <a:pt x="0" y="721056"/>
                  </a:cubicBezTo>
                  <a:cubicBezTo>
                    <a:pt x="0" y="377622"/>
                    <a:pt x="231708" y="88578"/>
                    <a:pt x="547390" y="0"/>
                  </a:cubicBezTo>
                  <a:close/>
                </a:path>
              </a:pathLst>
            </a:custGeom>
            <a:solidFill>
              <a:schemeClr val="accent1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5" name="ValueBack2"/>
            <p:cNvSpPr/>
            <p:nvPr/>
          </p:nvSpPr>
          <p:spPr bwMode="auto">
            <a:xfrm>
              <a:off x="2458964" y="1782313"/>
              <a:ext cx="1500831" cy="1471637"/>
            </a:xfrm>
            <a:custGeom>
              <a:avLst/>
              <a:gdLst>
                <a:gd name="connsiteX0" fmla="*/ 216292 w 1500831"/>
                <a:gd name="connsiteY0" fmla="*/ 863071 h 1471637"/>
                <a:gd name="connsiteX1" fmla="*/ 749293 w 1500831"/>
                <a:gd name="connsiteY1" fmla="*/ 1085074 h 1471637"/>
                <a:gd name="connsiteX2" fmla="*/ 545727 w 1500831"/>
                <a:gd name="connsiteY2" fmla="*/ 1471637 h 1471637"/>
                <a:gd name="connsiteX3" fmla="*/ 12726 w 1500831"/>
                <a:gd name="connsiteY3" fmla="*/ 891015 h 1471637"/>
                <a:gd name="connsiteX4" fmla="*/ 216292 w 1500831"/>
                <a:gd name="connsiteY4" fmla="*/ 863071 h 1471637"/>
                <a:gd name="connsiteX5" fmla="*/ 749638 w 1500831"/>
                <a:gd name="connsiteY5" fmla="*/ 0 h 1471637"/>
                <a:gd name="connsiteX6" fmla="*/ 1500831 w 1500831"/>
                <a:gd name="connsiteY6" fmla="*/ 750546 h 1471637"/>
                <a:gd name="connsiteX7" fmla="*/ 1486834 w 1500831"/>
                <a:gd name="connsiteY7" fmla="*/ 890399 h 1471637"/>
                <a:gd name="connsiteX8" fmla="*/ 1283094 w 1500831"/>
                <a:gd name="connsiteY8" fmla="*/ 862428 h 1471637"/>
                <a:gd name="connsiteX9" fmla="*/ 749638 w 1500831"/>
                <a:gd name="connsiteY9" fmla="*/ 1084640 h 1471637"/>
                <a:gd name="connsiteX10" fmla="*/ 216182 w 1500831"/>
                <a:gd name="connsiteY10" fmla="*/ 862428 h 1471637"/>
                <a:gd name="connsiteX11" fmla="*/ 12442 w 1500831"/>
                <a:gd name="connsiteY11" fmla="*/ 890399 h 1471637"/>
                <a:gd name="connsiteX12" fmla="*/ 0 w 1500831"/>
                <a:gd name="connsiteY12" fmla="*/ 750546 h 1471637"/>
                <a:gd name="connsiteX13" fmla="*/ 749638 w 1500831"/>
                <a:gd name="connsiteY13" fmla="*/ 0 h 1471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00831" h="1471637">
                  <a:moveTo>
                    <a:pt x="216292" y="863071"/>
                  </a:moveTo>
                  <a:cubicBezTo>
                    <a:pt x="424520" y="863071"/>
                    <a:pt x="614100" y="948457"/>
                    <a:pt x="749293" y="1085074"/>
                  </a:cubicBezTo>
                  <a:cubicBezTo>
                    <a:pt x="646733" y="1189089"/>
                    <a:pt x="575252" y="1322601"/>
                    <a:pt x="545727" y="1471637"/>
                  </a:cubicBezTo>
                  <a:cubicBezTo>
                    <a:pt x="275342" y="1395566"/>
                    <a:pt x="67114" y="1170459"/>
                    <a:pt x="12726" y="891015"/>
                  </a:cubicBezTo>
                  <a:cubicBezTo>
                    <a:pt x="77992" y="873938"/>
                    <a:pt x="146365" y="863071"/>
                    <a:pt x="216292" y="863071"/>
                  </a:cubicBezTo>
                  <a:close/>
                  <a:moveTo>
                    <a:pt x="749638" y="0"/>
                  </a:moveTo>
                  <a:cubicBezTo>
                    <a:pt x="1164894" y="0"/>
                    <a:pt x="1500831" y="335648"/>
                    <a:pt x="1500831" y="750546"/>
                  </a:cubicBezTo>
                  <a:cubicBezTo>
                    <a:pt x="1500831" y="798718"/>
                    <a:pt x="1494610" y="845335"/>
                    <a:pt x="1486834" y="890399"/>
                  </a:cubicBezTo>
                  <a:cubicBezTo>
                    <a:pt x="1421513" y="873306"/>
                    <a:pt x="1353081" y="862428"/>
                    <a:pt x="1283094" y="862428"/>
                  </a:cubicBezTo>
                  <a:cubicBezTo>
                    <a:pt x="1074688" y="862428"/>
                    <a:pt x="884946" y="947895"/>
                    <a:pt x="749638" y="1084640"/>
                  </a:cubicBezTo>
                  <a:cubicBezTo>
                    <a:pt x="614330" y="947895"/>
                    <a:pt x="424588" y="862428"/>
                    <a:pt x="216182" y="862428"/>
                  </a:cubicBezTo>
                  <a:cubicBezTo>
                    <a:pt x="146195" y="862428"/>
                    <a:pt x="77763" y="873306"/>
                    <a:pt x="12442" y="890399"/>
                  </a:cubicBezTo>
                  <a:cubicBezTo>
                    <a:pt x="4666" y="845335"/>
                    <a:pt x="0" y="798718"/>
                    <a:pt x="0" y="750546"/>
                  </a:cubicBezTo>
                  <a:cubicBezTo>
                    <a:pt x="0" y="335648"/>
                    <a:pt x="335937" y="0"/>
                    <a:pt x="749638" y="0"/>
                  </a:cubicBezTo>
                  <a:close/>
                </a:path>
              </a:pathLst>
            </a:custGeom>
            <a:solidFill>
              <a:schemeClr val="accent3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6" name="ValueBack3"/>
            <p:cNvSpPr/>
            <p:nvPr/>
          </p:nvSpPr>
          <p:spPr bwMode="auto">
            <a:xfrm>
              <a:off x="3208256" y="2645384"/>
              <a:ext cx="1285250" cy="1499333"/>
            </a:xfrm>
            <a:custGeom>
              <a:avLst/>
              <a:gdLst>
                <a:gd name="connsiteX0" fmla="*/ 737541 w 1285250"/>
                <a:gd name="connsiteY0" fmla="*/ 27696 h 1499333"/>
                <a:gd name="connsiteX1" fmla="*/ 1285250 w 1285250"/>
                <a:gd name="connsiteY1" fmla="*/ 748752 h 1499333"/>
                <a:gd name="connsiteX2" fmla="*/ 533706 w 1285250"/>
                <a:gd name="connsiteY2" fmla="*/ 1499333 h 1499333"/>
                <a:gd name="connsiteX3" fmla="*/ 0 w 1285250"/>
                <a:gd name="connsiteY3" fmla="*/ 1277111 h 1499333"/>
                <a:gd name="connsiteX4" fmla="*/ 217839 w 1285250"/>
                <a:gd name="connsiteY4" fmla="*/ 748752 h 1499333"/>
                <a:gd name="connsiteX5" fmla="*/ 203835 w 1285250"/>
                <a:gd name="connsiteY5" fmla="*/ 608892 h 1499333"/>
                <a:gd name="connsiteX6" fmla="*/ 737541 w 1285250"/>
                <a:gd name="connsiteY6" fmla="*/ 27696 h 1499333"/>
                <a:gd name="connsiteX7" fmla="*/ 533543 w 1285250"/>
                <a:gd name="connsiteY7" fmla="*/ 0 h 1499333"/>
                <a:gd name="connsiteX8" fmla="*/ 737316 w 1285250"/>
                <a:gd name="connsiteY8" fmla="*/ 27944 h 1499333"/>
                <a:gd name="connsiteX9" fmla="*/ 203773 w 1285250"/>
                <a:gd name="connsiteY9" fmla="*/ 608566 h 1499333"/>
                <a:gd name="connsiteX10" fmla="*/ 0 w 1285250"/>
                <a:gd name="connsiteY10" fmla="*/ 222003 h 1499333"/>
                <a:gd name="connsiteX11" fmla="*/ 533543 w 1285250"/>
                <a:gd name="connsiteY11" fmla="*/ 0 h 1499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85250" h="1499333">
                  <a:moveTo>
                    <a:pt x="737541" y="27696"/>
                  </a:moveTo>
                  <a:cubicBezTo>
                    <a:pt x="1053407" y="116274"/>
                    <a:pt x="1285250" y="405318"/>
                    <a:pt x="1285250" y="748752"/>
                  </a:cubicBezTo>
                  <a:cubicBezTo>
                    <a:pt x="1285250" y="1163669"/>
                    <a:pt x="949156" y="1499333"/>
                    <a:pt x="533706" y="1499333"/>
                  </a:cubicBezTo>
                  <a:cubicBezTo>
                    <a:pt x="325203" y="1499333"/>
                    <a:pt x="135372" y="1413863"/>
                    <a:pt x="0" y="1277111"/>
                  </a:cubicBezTo>
                  <a:cubicBezTo>
                    <a:pt x="133816" y="1140359"/>
                    <a:pt x="217839" y="955434"/>
                    <a:pt x="217839" y="748752"/>
                  </a:cubicBezTo>
                  <a:cubicBezTo>
                    <a:pt x="217839" y="700578"/>
                    <a:pt x="211615" y="653958"/>
                    <a:pt x="203835" y="608892"/>
                  </a:cubicBezTo>
                  <a:cubicBezTo>
                    <a:pt x="474578" y="532746"/>
                    <a:pt x="684637" y="307416"/>
                    <a:pt x="737541" y="27696"/>
                  </a:cubicBezTo>
                  <a:close/>
                  <a:moveTo>
                    <a:pt x="533543" y="0"/>
                  </a:moveTo>
                  <a:cubicBezTo>
                    <a:pt x="603542" y="0"/>
                    <a:pt x="671984" y="10867"/>
                    <a:pt x="737316" y="27944"/>
                  </a:cubicBezTo>
                  <a:cubicBezTo>
                    <a:pt x="684429" y="307388"/>
                    <a:pt x="474433" y="532495"/>
                    <a:pt x="203773" y="608566"/>
                  </a:cubicBezTo>
                  <a:cubicBezTo>
                    <a:pt x="175774" y="459530"/>
                    <a:pt x="102664" y="326018"/>
                    <a:pt x="0" y="222003"/>
                  </a:cubicBezTo>
                  <a:cubicBezTo>
                    <a:pt x="135330" y="85386"/>
                    <a:pt x="325104" y="0"/>
                    <a:pt x="533543" y="0"/>
                  </a:cubicBez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7" name="ExtraShape1"/>
            <p:cNvSpPr/>
            <p:nvPr/>
          </p:nvSpPr>
          <p:spPr bwMode="auto">
            <a:xfrm>
              <a:off x="2434262" y="1757611"/>
              <a:ext cx="1550235" cy="1134792"/>
            </a:xfrm>
            <a:custGeom>
              <a:avLst/>
              <a:gdLst>
                <a:gd name="T0" fmla="*/ 498 w 997"/>
                <a:gd name="T1" fmla="*/ 730 h 730"/>
                <a:gd name="T2" fmla="*/ 487 w 997"/>
                <a:gd name="T3" fmla="*/ 725 h 730"/>
                <a:gd name="T4" fmla="*/ 29 w 997"/>
                <a:gd name="T5" fmla="*/ 605 h 730"/>
                <a:gd name="T6" fmla="*/ 16 w 997"/>
                <a:gd name="T7" fmla="*/ 603 h 730"/>
                <a:gd name="T8" fmla="*/ 9 w 997"/>
                <a:gd name="T9" fmla="*/ 592 h 730"/>
                <a:gd name="T10" fmla="*/ 0 w 997"/>
                <a:gd name="T11" fmla="*/ 499 h 730"/>
                <a:gd name="T12" fmla="*/ 498 w 997"/>
                <a:gd name="T13" fmla="*/ 0 h 730"/>
                <a:gd name="T14" fmla="*/ 997 w 997"/>
                <a:gd name="T15" fmla="*/ 499 h 730"/>
                <a:gd name="T16" fmla="*/ 988 w 997"/>
                <a:gd name="T17" fmla="*/ 592 h 730"/>
                <a:gd name="T18" fmla="*/ 980 w 997"/>
                <a:gd name="T19" fmla="*/ 603 h 730"/>
                <a:gd name="T20" fmla="*/ 968 w 997"/>
                <a:gd name="T21" fmla="*/ 605 h 730"/>
                <a:gd name="T22" fmla="*/ 509 w 997"/>
                <a:gd name="T23" fmla="*/ 725 h 730"/>
                <a:gd name="T24" fmla="*/ 498 w 997"/>
                <a:gd name="T25" fmla="*/ 730 h 730"/>
                <a:gd name="T26" fmla="*/ 155 w 997"/>
                <a:gd name="T27" fmla="*/ 555 h 730"/>
                <a:gd name="T28" fmla="*/ 498 w 997"/>
                <a:gd name="T29" fmla="*/ 692 h 730"/>
                <a:gd name="T30" fmla="*/ 959 w 997"/>
                <a:gd name="T31" fmla="*/ 569 h 730"/>
                <a:gd name="T32" fmla="*/ 965 w 997"/>
                <a:gd name="T33" fmla="*/ 499 h 730"/>
                <a:gd name="T34" fmla="*/ 498 w 997"/>
                <a:gd name="T35" fmla="*/ 32 h 730"/>
                <a:gd name="T36" fmla="*/ 32 w 997"/>
                <a:gd name="T37" fmla="*/ 499 h 730"/>
                <a:gd name="T38" fmla="*/ 37 w 997"/>
                <a:gd name="T39" fmla="*/ 569 h 730"/>
                <a:gd name="T40" fmla="*/ 155 w 997"/>
                <a:gd name="T41" fmla="*/ 555 h 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97" h="730">
                  <a:moveTo>
                    <a:pt x="498" y="730"/>
                  </a:moveTo>
                  <a:cubicBezTo>
                    <a:pt x="494" y="730"/>
                    <a:pt x="490" y="728"/>
                    <a:pt x="487" y="725"/>
                  </a:cubicBezTo>
                  <a:cubicBezTo>
                    <a:pt x="369" y="606"/>
                    <a:pt x="197" y="557"/>
                    <a:pt x="29" y="605"/>
                  </a:cubicBezTo>
                  <a:cubicBezTo>
                    <a:pt x="24" y="606"/>
                    <a:pt x="20" y="605"/>
                    <a:pt x="16" y="603"/>
                  </a:cubicBezTo>
                  <a:cubicBezTo>
                    <a:pt x="12" y="601"/>
                    <a:pt x="10" y="597"/>
                    <a:pt x="9" y="592"/>
                  </a:cubicBezTo>
                  <a:cubicBezTo>
                    <a:pt x="3" y="561"/>
                    <a:pt x="0" y="529"/>
                    <a:pt x="0" y="499"/>
                  </a:cubicBezTo>
                  <a:cubicBezTo>
                    <a:pt x="0" y="224"/>
                    <a:pt x="223" y="0"/>
                    <a:pt x="498" y="0"/>
                  </a:cubicBezTo>
                  <a:cubicBezTo>
                    <a:pt x="773" y="0"/>
                    <a:pt x="997" y="224"/>
                    <a:pt x="997" y="499"/>
                  </a:cubicBezTo>
                  <a:cubicBezTo>
                    <a:pt x="997" y="529"/>
                    <a:pt x="994" y="561"/>
                    <a:pt x="988" y="592"/>
                  </a:cubicBezTo>
                  <a:cubicBezTo>
                    <a:pt x="987" y="597"/>
                    <a:pt x="984" y="601"/>
                    <a:pt x="980" y="603"/>
                  </a:cubicBezTo>
                  <a:cubicBezTo>
                    <a:pt x="977" y="605"/>
                    <a:pt x="972" y="606"/>
                    <a:pt x="968" y="605"/>
                  </a:cubicBezTo>
                  <a:cubicBezTo>
                    <a:pt x="800" y="557"/>
                    <a:pt x="627" y="606"/>
                    <a:pt x="509" y="725"/>
                  </a:cubicBezTo>
                  <a:cubicBezTo>
                    <a:pt x="506" y="728"/>
                    <a:pt x="502" y="730"/>
                    <a:pt x="498" y="730"/>
                  </a:cubicBezTo>
                  <a:close/>
                  <a:moveTo>
                    <a:pt x="155" y="555"/>
                  </a:moveTo>
                  <a:cubicBezTo>
                    <a:pt x="284" y="555"/>
                    <a:pt x="405" y="603"/>
                    <a:pt x="498" y="692"/>
                  </a:cubicBezTo>
                  <a:cubicBezTo>
                    <a:pt x="619" y="576"/>
                    <a:pt x="791" y="528"/>
                    <a:pt x="959" y="569"/>
                  </a:cubicBezTo>
                  <a:cubicBezTo>
                    <a:pt x="963" y="546"/>
                    <a:pt x="965" y="522"/>
                    <a:pt x="965" y="499"/>
                  </a:cubicBezTo>
                  <a:cubicBezTo>
                    <a:pt x="965" y="241"/>
                    <a:pt x="755" y="32"/>
                    <a:pt x="498" y="32"/>
                  </a:cubicBezTo>
                  <a:cubicBezTo>
                    <a:pt x="241" y="32"/>
                    <a:pt x="32" y="241"/>
                    <a:pt x="32" y="499"/>
                  </a:cubicBezTo>
                  <a:cubicBezTo>
                    <a:pt x="32" y="522"/>
                    <a:pt x="33" y="545"/>
                    <a:pt x="37" y="569"/>
                  </a:cubicBezTo>
                  <a:cubicBezTo>
                    <a:pt x="76" y="560"/>
                    <a:pt x="116" y="555"/>
                    <a:pt x="155" y="555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" name="ExtraShape2"/>
            <p:cNvSpPr/>
            <p:nvPr/>
          </p:nvSpPr>
          <p:spPr bwMode="auto">
            <a:xfrm>
              <a:off x="1899053" y="2648378"/>
              <a:ext cx="1337648" cy="1521041"/>
            </a:xfrm>
            <a:custGeom>
              <a:avLst/>
              <a:gdLst>
                <a:gd name="T0" fmla="*/ 499 w 860"/>
                <a:gd name="T1" fmla="*/ 979 h 979"/>
                <a:gd name="T2" fmla="*/ 0 w 860"/>
                <a:gd name="T3" fmla="*/ 480 h 979"/>
                <a:gd name="T4" fmla="*/ 364 w 860"/>
                <a:gd name="T5" fmla="*/ 1 h 979"/>
                <a:gd name="T6" fmla="*/ 377 w 860"/>
                <a:gd name="T7" fmla="*/ 3 h 979"/>
                <a:gd name="T8" fmla="*/ 384 w 860"/>
                <a:gd name="T9" fmla="*/ 13 h 979"/>
                <a:gd name="T10" fmla="*/ 716 w 860"/>
                <a:gd name="T11" fmla="*/ 374 h 979"/>
                <a:gd name="T12" fmla="*/ 727 w 860"/>
                <a:gd name="T13" fmla="*/ 393 h 979"/>
                <a:gd name="T14" fmla="*/ 718 w 860"/>
                <a:gd name="T15" fmla="*/ 480 h 979"/>
                <a:gd name="T16" fmla="*/ 853 w 860"/>
                <a:gd name="T17" fmla="*/ 808 h 979"/>
                <a:gd name="T18" fmla="*/ 853 w 860"/>
                <a:gd name="T19" fmla="*/ 831 h 979"/>
                <a:gd name="T20" fmla="*/ 499 w 860"/>
                <a:gd name="T21" fmla="*/ 979 h 979"/>
                <a:gd name="T22" fmla="*/ 356 w 860"/>
                <a:gd name="T23" fmla="*/ 37 h 979"/>
                <a:gd name="T24" fmla="*/ 32 w 860"/>
                <a:gd name="T25" fmla="*/ 480 h 979"/>
                <a:gd name="T26" fmla="*/ 499 w 860"/>
                <a:gd name="T27" fmla="*/ 947 h 979"/>
                <a:gd name="T28" fmla="*/ 820 w 860"/>
                <a:gd name="T29" fmla="*/ 819 h 979"/>
                <a:gd name="T30" fmla="*/ 686 w 860"/>
                <a:gd name="T31" fmla="*/ 480 h 979"/>
                <a:gd name="T32" fmla="*/ 693 w 860"/>
                <a:gd name="T33" fmla="*/ 401 h 979"/>
                <a:gd name="T34" fmla="*/ 356 w 860"/>
                <a:gd name="T35" fmla="*/ 37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60" h="979">
                  <a:moveTo>
                    <a:pt x="499" y="979"/>
                  </a:moveTo>
                  <a:cubicBezTo>
                    <a:pt x="224" y="979"/>
                    <a:pt x="0" y="755"/>
                    <a:pt x="0" y="480"/>
                  </a:cubicBezTo>
                  <a:cubicBezTo>
                    <a:pt x="0" y="258"/>
                    <a:pt x="150" y="61"/>
                    <a:pt x="364" y="1"/>
                  </a:cubicBezTo>
                  <a:cubicBezTo>
                    <a:pt x="368" y="0"/>
                    <a:pt x="373" y="0"/>
                    <a:pt x="377" y="3"/>
                  </a:cubicBezTo>
                  <a:cubicBezTo>
                    <a:pt x="381" y="5"/>
                    <a:pt x="383" y="9"/>
                    <a:pt x="384" y="13"/>
                  </a:cubicBezTo>
                  <a:cubicBezTo>
                    <a:pt x="417" y="185"/>
                    <a:pt x="547" y="327"/>
                    <a:pt x="716" y="374"/>
                  </a:cubicBezTo>
                  <a:cubicBezTo>
                    <a:pt x="724" y="377"/>
                    <a:pt x="728" y="385"/>
                    <a:pt x="727" y="393"/>
                  </a:cubicBezTo>
                  <a:cubicBezTo>
                    <a:pt x="721" y="422"/>
                    <a:pt x="718" y="452"/>
                    <a:pt x="718" y="480"/>
                  </a:cubicBezTo>
                  <a:cubicBezTo>
                    <a:pt x="718" y="604"/>
                    <a:pt x="766" y="720"/>
                    <a:pt x="853" y="808"/>
                  </a:cubicBezTo>
                  <a:cubicBezTo>
                    <a:pt x="860" y="815"/>
                    <a:pt x="860" y="825"/>
                    <a:pt x="853" y="831"/>
                  </a:cubicBezTo>
                  <a:cubicBezTo>
                    <a:pt x="759" y="926"/>
                    <a:pt x="633" y="979"/>
                    <a:pt x="499" y="979"/>
                  </a:cubicBezTo>
                  <a:close/>
                  <a:moveTo>
                    <a:pt x="356" y="37"/>
                  </a:moveTo>
                  <a:cubicBezTo>
                    <a:pt x="165" y="98"/>
                    <a:pt x="32" y="278"/>
                    <a:pt x="32" y="480"/>
                  </a:cubicBezTo>
                  <a:cubicBezTo>
                    <a:pt x="32" y="738"/>
                    <a:pt x="242" y="947"/>
                    <a:pt x="499" y="947"/>
                  </a:cubicBezTo>
                  <a:cubicBezTo>
                    <a:pt x="619" y="947"/>
                    <a:pt x="732" y="902"/>
                    <a:pt x="820" y="819"/>
                  </a:cubicBezTo>
                  <a:cubicBezTo>
                    <a:pt x="734" y="727"/>
                    <a:pt x="686" y="607"/>
                    <a:pt x="686" y="480"/>
                  </a:cubicBezTo>
                  <a:cubicBezTo>
                    <a:pt x="686" y="454"/>
                    <a:pt x="689" y="428"/>
                    <a:pt x="693" y="401"/>
                  </a:cubicBezTo>
                  <a:cubicBezTo>
                    <a:pt x="525" y="348"/>
                    <a:pt x="395" y="208"/>
                    <a:pt x="356" y="37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" name="ExtraShape3"/>
            <p:cNvSpPr/>
            <p:nvPr/>
          </p:nvSpPr>
          <p:spPr bwMode="auto">
            <a:xfrm>
              <a:off x="2444742" y="2570530"/>
              <a:ext cx="791959" cy="708871"/>
            </a:xfrm>
            <a:custGeom>
              <a:avLst/>
              <a:gdLst>
                <a:gd name="T0" fmla="*/ 360 w 509"/>
                <a:gd name="T1" fmla="*/ 456 h 456"/>
                <a:gd name="T2" fmla="*/ 356 w 509"/>
                <a:gd name="T3" fmla="*/ 455 h 456"/>
                <a:gd name="T4" fmla="*/ 2 w 509"/>
                <a:gd name="T5" fmla="*/ 69 h 456"/>
                <a:gd name="T6" fmla="*/ 13 w 509"/>
                <a:gd name="T7" fmla="*/ 51 h 456"/>
                <a:gd name="T8" fmla="*/ 502 w 509"/>
                <a:gd name="T9" fmla="*/ 180 h 456"/>
                <a:gd name="T10" fmla="*/ 502 w 509"/>
                <a:gd name="T11" fmla="*/ 202 h 456"/>
                <a:gd name="T12" fmla="*/ 376 w 509"/>
                <a:gd name="T13" fmla="*/ 443 h 456"/>
                <a:gd name="T14" fmla="*/ 369 w 509"/>
                <a:gd name="T15" fmla="*/ 453 h 456"/>
                <a:gd name="T16" fmla="*/ 360 w 509"/>
                <a:gd name="T17" fmla="*/ 456 h 456"/>
                <a:gd name="T18" fmla="*/ 36 w 509"/>
                <a:gd name="T19" fmla="*/ 78 h 456"/>
                <a:gd name="T20" fmla="*/ 348 w 509"/>
                <a:gd name="T21" fmla="*/ 419 h 456"/>
                <a:gd name="T22" fmla="*/ 469 w 509"/>
                <a:gd name="T23" fmla="*/ 191 h 456"/>
                <a:gd name="T24" fmla="*/ 36 w 509"/>
                <a:gd name="T25" fmla="*/ 78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9" h="456">
                  <a:moveTo>
                    <a:pt x="360" y="456"/>
                  </a:moveTo>
                  <a:cubicBezTo>
                    <a:pt x="359" y="456"/>
                    <a:pt x="357" y="455"/>
                    <a:pt x="356" y="455"/>
                  </a:cubicBezTo>
                  <a:cubicBezTo>
                    <a:pt x="176" y="404"/>
                    <a:pt x="37" y="253"/>
                    <a:pt x="2" y="69"/>
                  </a:cubicBezTo>
                  <a:cubicBezTo>
                    <a:pt x="0" y="61"/>
                    <a:pt x="5" y="53"/>
                    <a:pt x="13" y="51"/>
                  </a:cubicBezTo>
                  <a:cubicBezTo>
                    <a:pt x="192" y="0"/>
                    <a:pt x="376" y="53"/>
                    <a:pt x="502" y="180"/>
                  </a:cubicBezTo>
                  <a:cubicBezTo>
                    <a:pt x="509" y="186"/>
                    <a:pt x="509" y="196"/>
                    <a:pt x="502" y="202"/>
                  </a:cubicBezTo>
                  <a:cubicBezTo>
                    <a:pt x="437" y="268"/>
                    <a:pt x="393" y="351"/>
                    <a:pt x="376" y="443"/>
                  </a:cubicBezTo>
                  <a:cubicBezTo>
                    <a:pt x="375" y="447"/>
                    <a:pt x="373" y="451"/>
                    <a:pt x="369" y="453"/>
                  </a:cubicBezTo>
                  <a:cubicBezTo>
                    <a:pt x="366" y="455"/>
                    <a:pt x="363" y="456"/>
                    <a:pt x="360" y="456"/>
                  </a:cubicBezTo>
                  <a:close/>
                  <a:moveTo>
                    <a:pt x="36" y="78"/>
                  </a:moveTo>
                  <a:cubicBezTo>
                    <a:pt x="72" y="238"/>
                    <a:pt x="192" y="369"/>
                    <a:pt x="348" y="419"/>
                  </a:cubicBezTo>
                  <a:cubicBezTo>
                    <a:pt x="368" y="334"/>
                    <a:pt x="409" y="256"/>
                    <a:pt x="469" y="191"/>
                  </a:cubicBezTo>
                  <a:cubicBezTo>
                    <a:pt x="355" y="84"/>
                    <a:pt x="195" y="38"/>
                    <a:pt x="36" y="7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" name="ExtraShape4"/>
            <p:cNvSpPr/>
            <p:nvPr/>
          </p:nvSpPr>
          <p:spPr bwMode="auto">
            <a:xfrm>
              <a:off x="3180560" y="2648378"/>
              <a:ext cx="1337648" cy="1521041"/>
            </a:xfrm>
            <a:custGeom>
              <a:avLst/>
              <a:gdLst>
                <a:gd name="T0" fmla="*/ 361 w 860"/>
                <a:gd name="T1" fmla="*/ 979 h 979"/>
                <a:gd name="T2" fmla="*/ 7 w 860"/>
                <a:gd name="T3" fmla="*/ 831 h 979"/>
                <a:gd name="T4" fmla="*/ 7 w 860"/>
                <a:gd name="T5" fmla="*/ 808 h 979"/>
                <a:gd name="T6" fmla="*/ 142 w 860"/>
                <a:gd name="T7" fmla="*/ 480 h 979"/>
                <a:gd name="T8" fmla="*/ 133 w 860"/>
                <a:gd name="T9" fmla="*/ 393 h 979"/>
                <a:gd name="T10" fmla="*/ 144 w 860"/>
                <a:gd name="T11" fmla="*/ 374 h 979"/>
                <a:gd name="T12" fmla="*/ 476 w 860"/>
                <a:gd name="T13" fmla="*/ 13 h 979"/>
                <a:gd name="T14" fmla="*/ 483 w 860"/>
                <a:gd name="T15" fmla="*/ 3 h 979"/>
                <a:gd name="T16" fmla="*/ 496 w 860"/>
                <a:gd name="T17" fmla="*/ 1 h 979"/>
                <a:gd name="T18" fmla="*/ 860 w 860"/>
                <a:gd name="T19" fmla="*/ 480 h 979"/>
                <a:gd name="T20" fmla="*/ 361 w 860"/>
                <a:gd name="T21" fmla="*/ 979 h 979"/>
                <a:gd name="T22" fmla="*/ 40 w 860"/>
                <a:gd name="T23" fmla="*/ 819 h 979"/>
                <a:gd name="T24" fmla="*/ 361 w 860"/>
                <a:gd name="T25" fmla="*/ 947 h 979"/>
                <a:gd name="T26" fmla="*/ 828 w 860"/>
                <a:gd name="T27" fmla="*/ 480 h 979"/>
                <a:gd name="T28" fmla="*/ 504 w 860"/>
                <a:gd name="T29" fmla="*/ 37 h 979"/>
                <a:gd name="T30" fmla="*/ 167 w 860"/>
                <a:gd name="T31" fmla="*/ 401 h 979"/>
                <a:gd name="T32" fmla="*/ 174 w 860"/>
                <a:gd name="T33" fmla="*/ 480 h 979"/>
                <a:gd name="T34" fmla="*/ 40 w 860"/>
                <a:gd name="T35" fmla="*/ 819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60" h="979">
                  <a:moveTo>
                    <a:pt x="361" y="979"/>
                  </a:moveTo>
                  <a:cubicBezTo>
                    <a:pt x="227" y="979"/>
                    <a:pt x="101" y="926"/>
                    <a:pt x="7" y="831"/>
                  </a:cubicBezTo>
                  <a:cubicBezTo>
                    <a:pt x="0" y="825"/>
                    <a:pt x="0" y="815"/>
                    <a:pt x="7" y="808"/>
                  </a:cubicBezTo>
                  <a:cubicBezTo>
                    <a:pt x="94" y="720"/>
                    <a:pt x="142" y="604"/>
                    <a:pt x="142" y="480"/>
                  </a:cubicBezTo>
                  <a:cubicBezTo>
                    <a:pt x="142" y="452"/>
                    <a:pt x="139" y="422"/>
                    <a:pt x="133" y="393"/>
                  </a:cubicBezTo>
                  <a:cubicBezTo>
                    <a:pt x="132" y="385"/>
                    <a:pt x="136" y="377"/>
                    <a:pt x="144" y="374"/>
                  </a:cubicBezTo>
                  <a:cubicBezTo>
                    <a:pt x="313" y="327"/>
                    <a:pt x="443" y="185"/>
                    <a:pt x="476" y="13"/>
                  </a:cubicBezTo>
                  <a:cubicBezTo>
                    <a:pt x="477" y="9"/>
                    <a:pt x="480" y="5"/>
                    <a:pt x="483" y="3"/>
                  </a:cubicBezTo>
                  <a:cubicBezTo>
                    <a:pt x="487" y="0"/>
                    <a:pt x="492" y="0"/>
                    <a:pt x="496" y="1"/>
                  </a:cubicBezTo>
                  <a:cubicBezTo>
                    <a:pt x="710" y="61"/>
                    <a:pt x="860" y="258"/>
                    <a:pt x="860" y="480"/>
                  </a:cubicBezTo>
                  <a:cubicBezTo>
                    <a:pt x="860" y="755"/>
                    <a:pt x="636" y="979"/>
                    <a:pt x="361" y="979"/>
                  </a:cubicBezTo>
                  <a:close/>
                  <a:moveTo>
                    <a:pt x="40" y="819"/>
                  </a:moveTo>
                  <a:cubicBezTo>
                    <a:pt x="128" y="902"/>
                    <a:pt x="241" y="947"/>
                    <a:pt x="361" y="947"/>
                  </a:cubicBezTo>
                  <a:cubicBezTo>
                    <a:pt x="618" y="947"/>
                    <a:pt x="828" y="738"/>
                    <a:pt x="828" y="480"/>
                  </a:cubicBezTo>
                  <a:cubicBezTo>
                    <a:pt x="828" y="278"/>
                    <a:pt x="695" y="98"/>
                    <a:pt x="504" y="37"/>
                  </a:cubicBezTo>
                  <a:cubicBezTo>
                    <a:pt x="465" y="208"/>
                    <a:pt x="335" y="348"/>
                    <a:pt x="167" y="401"/>
                  </a:cubicBezTo>
                  <a:cubicBezTo>
                    <a:pt x="171" y="428"/>
                    <a:pt x="174" y="454"/>
                    <a:pt x="174" y="480"/>
                  </a:cubicBezTo>
                  <a:cubicBezTo>
                    <a:pt x="174" y="607"/>
                    <a:pt x="126" y="727"/>
                    <a:pt x="40" y="819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" name="ExtraShape5"/>
            <p:cNvSpPr/>
            <p:nvPr/>
          </p:nvSpPr>
          <p:spPr bwMode="auto">
            <a:xfrm>
              <a:off x="3180560" y="2619934"/>
              <a:ext cx="791959" cy="659467"/>
            </a:xfrm>
            <a:custGeom>
              <a:avLst/>
              <a:gdLst>
                <a:gd name="T0" fmla="*/ 149 w 509"/>
                <a:gd name="T1" fmla="*/ 424 h 424"/>
                <a:gd name="T2" fmla="*/ 140 w 509"/>
                <a:gd name="T3" fmla="*/ 421 h 424"/>
                <a:gd name="T4" fmla="*/ 133 w 509"/>
                <a:gd name="T5" fmla="*/ 411 h 424"/>
                <a:gd name="T6" fmla="*/ 7 w 509"/>
                <a:gd name="T7" fmla="*/ 170 h 424"/>
                <a:gd name="T8" fmla="*/ 7 w 509"/>
                <a:gd name="T9" fmla="*/ 148 h 424"/>
                <a:gd name="T10" fmla="*/ 361 w 509"/>
                <a:gd name="T11" fmla="*/ 0 h 424"/>
                <a:gd name="T12" fmla="*/ 496 w 509"/>
                <a:gd name="T13" fmla="*/ 19 h 424"/>
                <a:gd name="T14" fmla="*/ 508 w 509"/>
                <a:gd name="T15" fmla="*/ 37 h 424"/>
                <a:gd name="T16" fmla="*/ 153 w 509"/>
                <a:gd name="T17" fmla="*/ 423 h 424"/>
                <a:gd name="T18" fmla="*/ 149 w 509"/>
                <a:gd name="T19" fmla="*/ 424 h 424"/>
                <a:gd name="T20" fmla="*/ 40 w 509"/>
                <a:gd name="T21" fmla="*/ 159 h 424"/>
                <a:gd name="T22" fmla="*/ 161 w 509"/>
                <a:gd name="T23" fmla="*/ 387 h 424"/>
                <a:gd name="T24" fmla="*/ 473 w 509"/>
                <a:gd name="T25" fmla="*/ 46 h 424"/>
                <a:gd name="T26" fmla="*/ 40 w 509"/>
                <a:gd name="T27" fmla="*/ 159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09" h="424">
                  <a:moveTo>
                    <a:pt x="149" y="424"/>
                  </a:moveTo>
                  <a:cubicBezTo>
                    <a:pt x="146" y="424"/>
                    <a:pt x="143" y="423"/>
                    <a:pt x="140" y="421"/>
                  </a:cubicBezTo>
                  <a:cubicBezTo>
                    <a:pt x="137" y="419"/>
                    <a:pt x="134" y="415"/>
                    <a:pt x="133" y="411"/>
                  </a:cubicBezTo>
                  <a:cubicBezTo>
                    <a:pt x="116" y="320"/>
                    <a:pt x="72" y="236"/>
                    <a:pt x="7" y="170"/>
                  </a:cubicBezTo>
                  <a:cubicBezTo>
                    <a:pt x="0" y="164"/>
                    <a:pt x="0" y="154"/>
                    <a:pt x="7" y="148"/>
                  </a:cubicBezTo>
                  <a:cubicBezTo>
                    <a:pt x="101" y="52"/>
                    <a:pt x="227" y="0"/>
                    <a:pt x="361" y="0"/>
                  </a:cubicBezTo>
                  <a:cubicBezTo>
                    <a:pt x="406" y="0"/>
                    <a:pt x="451" y="6"/>
                    <a:pt x="496" y="19"/>
                  </a:cubicBezTo>
                  <a:cubicBezTo>
                    <a:pt x="504" y="21"/>
                    <a:pt x="509" y="29"/>
                    <a:pt x="508" y="37"/>
                  </a:cubicBezTo>
                  <a:cubicBezTo>
                    <a:pt x="473" y="221"/>
                    <a:pt x="333" y="373"/>
                    <a:pt x="153" y="423"/>
                  </a:cubicBezTo>
                  <a:cubicBezTo>
                    <a:pt x="152" y="424"/>
                    <a:pt x="150" y="424"/>
                    <a:pt x="149" y="424"/>
                  </a:cubicBezTo>
                  <a:close/>
                  <a:moveTo>
                    <a:pt x="40" y="159"/>
                  </a:moveTo>
                  <a:cubicBezTo>
                    <a:pt x="100" y="224"/>
                    <a:pt x="141" y="302"/>
                    <a:pt x="161" y="387"/>
                  </a:cubicBezTo>
                  <a:cubicBezTo>
                    <a:pt x="317" y="337"/>
                    <a:pt x="437" y="206"/>
                    <a:pt x="473" y="46"/>
                  </a:cubicBezTo>
                  <a:cubicBezTo>
                    <a:pt x="315" y="7"/>
                    <a:pt x="154" y="52"/>
                    <a:pt x="40" y="159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" name="ExtraShape6"/>
            <p:cNvSpPr/>
            <p:nvPr/>
          </p:nvSpPr>
          <p:spPr bwMode="auto">
            <a:xfrm>
              <a:off x="2965728" y="3227751"/>
              <a:ext cx="485805" cy="719351"/>
            </a:xfrm>
            <a:custGeom>
              <a:avLst/>
              <a:gdLst>
                <a:gd name="T0" fmla="*/ 156 w 312"/>
                <a:gd name="T1" fmla="*/ 463 h 463"/>
                <a:gd name="T2" fmla="*/ 145 w 312"/>
                <a:gd name="T3" fmla="*/ 458 h 463"/>
                <a:gd name="T4" fmla="*/ 0 w 312"/>
                <a:gd name="T5" fmla="*/ 107 h 463"/>
                <a:gd name="T6" fmla="*/ 10 w 312"/>
                <a:gd name="T7" fmla="*/ 14 h 463"/>
                <a:gd name="T8" fmla="*/ 17 w 312"/>
                <a:gd name="T9" fmla="*/ 3 h 463"/>
                <a:gd name="T10" fmla="*/ 30 w 312"/>
                <a:gd name="T11" fmla="*/ 1 h 463"/>
                <a:gd name="T12" fmla="*/ 282 w 312"/>
                <a:gd name="T13" fmla="*/ 1 h 463"/>
                <a:gd name="T14" fmla="*/ 295 w 312"/>
                <a:gd name="T15" fmla="*/ 3 h 463"/>
                <a:gd name="T16" fmla="*/ 302 w 312"/>
                <a:gd name="T17" fmla="*/ 14 h 463"/>
                <a:gd name="T18" fmla="*/ 312 w 312"/>
                <a:gd name="T19" fmla="*/ 107 h 463"/>
                <a:gd name="T20" fmla="*/ 167 w 312"/>
                <a:gd name="T21" fmla="*/ 458 h 463"/>
                <a:gd name="T22" fmla="*/ 156 w 312"/>
                <a:gd name="T23" fmla="*/ 463 h 463"/>
                <a:gd name="T24" fmla="*/ 38 w 312"/>
                <a:gd name="T25" fmla="*/ 37 h 463"/>
                <a:gd name="T26" fmla="*/ 32 w 312"/>
                <a:gd name="T27" fmla="*/ 107 h 463"/>
                <a:gd name="T28" fmla="*/ 156 w 312"/>
                <a:gd name="T29" fmla="*/ 423 h 463"/>
                <a:gd name="T30" fmla="*/ 280 w 312"/>
                <a:gd name="T31" fmla="*/ 107 h 463"/>
                <a:gd name="T32" fmla="*/ 274 w 312"/>
                <a:gd name="T33" fmla="*/ 37 h 463"/>
                <a:gd name="T34" fmla="*/ 38 w 312"/>
                <a:gd name="T35" fmla="*/ 37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12" h="463">
                  <a:moveTo>
                    <a:pt x="156" y="463"/>
                  </a:moveTo>
                  <a:cubicBezTo>
                    <a:pt x="152" y="463"/>
                    <a:pt x="148" y="461"/>
                    <a:pt x="145" y="458"/>
                  </a:cubicBezTo>
                  <a:cubicBezTo>
                    <a:pt x="52" y="364"/>
                    <a:pt x="0" y="239"/>
                    <a:pt x="0" y="107"/>
                  </a:cubicBezTo>
                  <a:cubicBezTo>
                    <a:pt x="0" y="77"/>
                    <a:pt x="4" y="45"/>
                    <a:pt x="10" y="14"/>
                  </a:cubicBezTo>
                  <a:cubicBezTo>
                    <a:pt x="10" y="9"/>
                    <a:pt x="13" y="5"/>
                    <a:pt x="17" y="3"/>
                  </a:cubicBezTo>
                  <a:cubicBezTo>
                    <a:pt x="21" y="1"/>
                    <a:pt x="25" y="0"/>
                    <a:pt x="30" y="1"/>
                  </a:cubicBezTo>
                  <a:cubicBezTo>
                    <a:pt x="113" y="25"/>
                    <a:pt x="198" y="25"/>
                    <a:pt x="282" y="1"/>
                  </a:cubicBezTo>
                  <a:cubicBezTo>
                    <a:pt x="287" y="0"/>
                    <a:pt x="291" y="1"/>
                    <a:pt x="295" y="3"/>
                  </a:cubicBezTo>
                  <a:cubicBezTo>
                    <a:pt x="299" y="6"/>
                    <a:pt x="302" y="9"/>
                    <a:pt x="302" y="14"/>
                  </a:cubicBezTo>
                  <a:cubicBezTo>
                    <a:pt x="308" y="45"/>
                    <a:pt x="312" y="77"/>
                    <a:pt x="312" y="107"/>
                  </a:cubicBezTo>
                  <a:cubicBezTo>
                    <a:pt x="312" y="239"/>
                    <a:pt x="260" y="364"/>
                    <a:pt x="167" y="458"/>
                  </a:cubicBezTo>
                  <a:cubicBezTo>
                    <a:pt x="164" y="461"/>
                    <a:pt x="160" y="463"/>
                    <a:pt x="156" y="463"/>
                  </a:cubicBezTo>
                  <a:close/>
                  <a:moveTo>
                    <a:pt x="38" y="37"/>
                  </a:moveTo>
                  <a:cubicBezTo>
                    <a:pt x="34" y="61"/>
                    <a:pt x="32" y="84"/>
                    <a:pt x="32" y="107"/>
                  </a:cubicBezTo>
                  <a:cubicBezTo>
                    <a:pt x="32" y="225"/>
                    <a:pt x="76" y="337"/>
                    <a:pt x="156" y="423"/>
                  </a:cubicBezTo>
                  <a:cubicBezTo>
                    <a:pt x="236" y="337"/>
                    <a:pt x="280" y="225"/>
                    <a:pt x="280" y="107"/>
                  </a:cubicBezTo>
                  <a:cubicBezTo>
                    <a:pt x="280" y="84"/>
                    <a:pt x="278" y="61"/>
                    <a:pt x="274" y="37"/>
                  </a:cubicBezTo>
                  <a:cubicBezTo>
                    <a:pt x="195" y="56"/>
                    <a:pt x="116" y="56"/>
                    <a:pt x="38" y="37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" name="ValueShape1"/>
            <p:cNvSpPr/>
            <p:nvPr/>
          </p:nvSpPr>
          <p:spPr>
            <a:xfrm>
              <a:off x="4709382" y="2032654"/>
              <a:ext cx="4718755" cy="411163"/>
            </a:xfrm>
            <a:prstGeom prst="parallelogram">
              <a:avLst/>
            </a:prstGeom>
            <a:gradFill flip="none" rotWithShape="1">
              <a:gsLst>
                <a:gs pos="0">
                  <a:schemeClr val="accent1">
                    <a:lumMod val="10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  <a:gs pos="51923">
                  <a:schemeClr val="accent1">
                    <a:lumMod val="100000"/>
                  </a:schemeClr>
                </a:gs>
                <a:gs pos="52023">
                  <a:schemeClr val="accent1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ValueShape2"/>
            <p:cNvSpPr/>
            <p:nvPr/>
          </p:nvSpPr>
          <p:spPr>
            <a:xfrm>
              <a:off x="4709382" y="2768872"/>
              <a:ext cx="4718755" cy="411163"/>
            </a:xfrm>
            <a:prstGeom prst="parallelogram">
              <a:avLst/>
            </a:prstGeom>
            <a:gradFill flip="none" rotWithShape="1">
              <a:gsLst>
                <a:gs pos="0">
                  <a:schemeClr val="accent3">
                    <a:lumMod val="100000"/>
                  </a:schemeClr>
                </a:gs>
                <a:gs pos="100000">
                  <a:schemeClr val="accent3">
                    <a:lumMod val="20000"/>
                    <a:lumOff val="80000"/>
                  </a:schemeClr>
                </a:gs>
                <a:gs pos="80769">
                  <a:schemeClr val="accent3">
                    <a:lumMod val="100000"/>
                  </a:schemeClr>
                </a:gs>
                <a:gs pos="80869">
                  <a:schemeClr val="accent3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ValueShape3"/>
            <p:cNvSpPr/>
            <p:nvPr/>
          </p:nvSpPr>
          <p:spPr>
            <a:xfrm>
              <a:off x="4709382" y="3501836"/>
              <a:ext cx="4718755" cy="411163"/>
            </a:xfrm>
            <a:prstGeom prst="parallelogram">
              <a:avLst/>
            </a:prstGeom>
            <a:gradFill flip="none" rotWithShape="1">
              <a:gsLst>
                <a:gs pos="0">
                  <a:schemeClr val="accent2">
                    <a:lumMod val="100000"/>
                  </a:schemeClr>
                </a:gs>
                <a:gs pos="100000">
                  <a:schemeClr val="accent2">
                    <a:lumMod val="20000"/>
                    <a:lumOff val="80000"/>
                  </a:schemeClr>
                </a:gs>
                <a:gs pos="63462">
                  <a:schemeClr val="accent2">
                    <a:lumMod val="100000"/>
                  </a:schemeClr>
                </a:gs>
                <a:gs pos="63562">
                  <a:schemeClr val="accent2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" name="ValueText1"/>
            <p:cNvSpPr txBox="1"/>
            <p:nvPr/>
          </p:nvSpPr>
          <p:spPr>
            <a:xfrm>
              <a:off x="9644013" y="2032654"/>
              <a:ext cx="648934" cy="413979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1">
                      <a:lumMod val="100000"/>
                    </a:schemeClr>
                  </a:solidFill>
                  <a:latin typeface="Impact" panose="020B0806030902050204" pitchFamily="34" charset="0"/>
                </a:rPr>
                <a:t>52%</a:t>
              </a:r>
              <a:endParaRPr lang="en-US" altLang="zh-CN" sz="3600" b="1" dirty="0">
                <a:solidFill>
                  <a:schemeClr val="accent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7" name="ValueText2"/>
            <p:cNvSpPr txBox="1"/>
            <p:nvPr/>
          </p:nvSpPr>
          <p:spPr>
            <a:xfrm>
              <a:off x="9644013" y="2766056"/>
              <a:ext cx="648934" cy="413979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3">
                      <a:lumMod val="100000"/>
                    </a:schemeClr>
                  </a:solidFill>
                  <a:latin typeface="Impact" panose="020B0806030902050204" pitchFamily="34" charset="0"/>
                </a:rPr>
                <a:t>81%</a:t>
              </a:r>
              <a:endParaRPr lang="en-US" altLang="zh-CN" sz="3600" b="1" dirty="0">
                <a:solidFill>
                  <a:schemeClr val="accent3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8" name="ValueText3"/>
            <p:cNvSpPr txBox="1"/>
            <p:nvPr/>
          </p:nvSpPr>
          <p:spPr>
            <a:xfrm>
              <a:off x="9644013" y="3500427"/>
              <a:ext cx="648934" cy="413979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2">
                      <a:lumMod val="100000"/>
                    </a:schemeClr>
                  </a:solidFill>
                  <a:latin typeface="Impact" panose="020B0806030902050204" pitchFamily="34" charset="0"/>
                </a:rPr>
                <a:t>63%</a:t>
              </a:r>
              <a:endParaRPr lang="en-US" altLang="zh-CN" sz="3600" b="1" dirty="0">
                <a:solidFill>
                  <a:schemeClr val="accent2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9" name="CustomText1"/>
            <p:cNvSpPr txBox="1"/>
            <p:nvPr/>
          </p:nvSpPr>
          <p:spPr>
            <a:xfrm>
              <a:off x="3180560" y="4291876"/>
              <a:ext cx="2377389" cy="523220"/>
            </a:xfrm>
            <a:prstGeom prst="rect">
              <a:avLst/>
            </a:prstGeom>
            <a:noFill/>
          </p:spPr>
          <p:txBody>
            <a:bodyPr wrap="square" rtlCol="0">
              <a:normAutofit/>
            </a:bodyPr>
            <a:lstStyle/>
            <a:p>
              <a:r>
                <a:rPr lang="en-US" altLang="zh-CN" sz="2800" b="1" dirty="0">
                  <a:solidFill>
                    <a:schemeClr val="tx2"/>
                  </a:solidFill>
                </a:rPr>
                <a:t>TEXT HERE</a:t>
              </a:r>
              <a:endParaRPr lang="en-US" altLang="zh-CN" sz="2800" b="1" dirty="0">
                <a:solidFill>
                  <a:schemeClr val="tx2"/>
                </a:solidFill>
              </a:endParaRPr>
            </a:p>
          </p:txBody>
        </p:sp>
        <p:sp>
          <p:nvSpPr>
            <p:cNvPr id="20" name="CustomText2"/>
            <p:cNvSpPr/>
            <p:nvPr/>
          </p:nvSpPr>
          <p:spPr>
            <a:xfrm>
              <a:off x="3180560" y="4731058"/>
              <a:ext cx="2377389" cy="369332"/>
            </a:xfrm>
            <a:prstGeom prst="rect">
              <a:avLst/>
            </a:prstGeom>
          </p:spPr>
          <p:txBody>
            <a:bodyPr wrap="square">
              <a:normAutofit/>
            </a:bodyPr>
            <a:lstStyle/>
            <a:p>
              <a:r>
                <a:rPr lang="en-US" altLang="zh-CN" dirty="0">
                  <a:solidFill>
                    <a:schemeClr val="tx2"/>
                  </a:solidFill>
                </a:rPr>
                <a:t>Supporting text here</a:t>
              </a:r>
              <a:endParaRPr lang="en-US" altLang="zh-CN" dirty="0">
                <a:solidFill>
                  <a:schemeClr val="tx2"/>
                </a:solidFill>
              </a:endParaRPr>
            </a:p>
          </p:txBody>
        </p:sp>
        <p:sp>
          <p:nvSpPr>
            <p:cNvPr id="21" name="CustomText1"/>
            <p:cNvSpPr/>
            <p:nvPr/>
          </p:nvSpPr>
          <p:spPr>
            <a:xfrm>
              <a:off x="5522996" y="4466518"/>
              <a:ext cx="3476702" cy="529080"/>
            </a:xfrm>
            <a:prstGeom prst="rect">
              <a:avLst/>
            </a:prstGeom>
            <a:noFill/>
          </p:spPr>
          <p:txBody>
            <a:bodyPr wrap="none" lIns="0" tIns="0" rIns="0" bIns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285750" indent="-285750">
                <a:lnSpc>
                  <a:spcPct val="120000"/>
                </a:lnSpc>
                <a:buFont typeface="Wingdings" panose="05000000000000000000" pitchFamily="2" charset="2"/>
                <a:buChar char="p"/>
                <a:defRPr/>
              </a:pPr>
              <a:r>
                <a:rPr lang="en-US" altLang="zh-CN" sz="12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Supporting text here Supporting text  </a:t>
              </a:r>
              <a:endParaRPr lang="en-US" altLang="zh-CN" sz="12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pPr marL="285750" indent="-285750">
                <a:lnSpc>
                  <a:spcPct val="120000"/>
                </a:lnSpc>
                <a:buFont typeface="Wingdings" panose="05000000000000000000" pitchFamily="2" charset="2"/>
                <a:buChar char="p"/>
                <a:defRPr/>
              </a:pPr>
              <a:r>
                <a:rPr lang="en-US" altLang="zh-CN" sz="12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Supporting text here Supporting text here</a:t>
              </a:r>
              <a:endParaRPr lang="en-US" altLang="zh-CN" sz="12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sp>
        <p:nvSpPr>
          <p:cNvPr id="24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25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4</a:t>
            </a:r>
            <a:r>
              <a:rPr kumimoji="0" lang="en-US" altLang="zh-CN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单元测试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ṣļïḓ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ṩḻíḍè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4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iṧ1îḋ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sḻïďè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íṩlïḓé"/>
          <p:cNvSpPr>
            <a:spLocks noGrp="1"/>
          </p:cNvSpPr>
          <p:nvPr>
            <p:ph type="ctrTitle"/>
          </p:nvPr>
        </p:nvSpPr>
        <p:spPr>
          <a:xfrm>
            <a:off x="3559175" y="2178050"/>
            <a:ext cx="8521065" cy="1621790"/>
          </a:xfrm>
        </p:spPr>
        <p:txBody>
          <a:bodyPr>
            <a:normAutofit/>
          </a:bodyPr>
          <a:lstStyle/>
          <a:p>
            <a:r>
              <a:rPr lang="en-US" altLang="zh-CN" sz="4800" dirty="0" smtClean="0"/>
              <a:t>Thanks!</a:t>
            </a:r>
            <a:br>
              <a:rPr lang="en-US" altLang="zh-CN" sz="4800" dirty="0"/>
            </a:br>
            <a:r>
              <a:rPr lang="en-US" altLang="zh-CN" sz="4800" dirty="0"/>
              <a:t>And Your Slogan Here</a:t>
            </a:r>
            <a:endParaRPr lang="zh-CN" altLang="en-US" sz="4800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81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</a:t>
            </a: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内置对象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9" name="文本框 88"/>
          <p:cNvSpPr txBox="1"/>
          <p:nvPr/>
        </p:nvSpPr>
        <p:spPr>
          <a:xfrm>
            <a:off x="749935" y="1228090"/>
            <a:ext cx="562610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Application  全局应用对象</a:t>
            </a:r>
            <a:r>
              <a:rPr lang="zh-CN" altLang="en-US"/>
              <a:t> </a:t>
            </a:r>
            <a:endParaRPr lang="zh-CN" altLang="en-US"/>
          </a:p>
        </p:txBody>
      </p:sp>
      <p:sp>
        <p:nvSpPr>
          <p:cNvPr id="90" name="文本框 89"/>
          <p:cNvSpPr txBox="1"/>
          <p:nvPr/>
        </p:nvSpPr>
        <p:spPr>
          <a:xfrm>
            <a:off x="749935" y="2001520"/>
            <a:ext cx="11292205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600"/>
              <a:t>Application 是全局应用对象，在一个应用中，只会实例化一个，它继承自 Koa.Application，在它上面我们可以挂载一些全局的方法和对象。我们可以轻松的在插件或者应用中扩展 Application 对象。</a:t>
            </a:r>
            <a:endParaRPr lang="zh-CN" altLang="en-US" sz="1600"/>
          </a:p>
        </p:txBody>
      </p:sp>
      <p:sp>
        <p:nvSpPr>
          <p:cNvPr id="92" name="文本框 91"/>
          <p:cNvSpPr txBox="1"/>
          <p:nvPr/>
        </p:nvSpPr>
        <p:spPr>
          <a:xfrm>
            <a:off x="819150" y="3086735"/>
            <a:ext cx="11113770" cy="31381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/>
              <a:t>// app/controller/</a:t>
            </a:r>
            <a:r>
              <a:rPr lang="en-US" altLang="zh-CN"/>
              <a:t>home</a:t>
            </a:r>
            <a:r>
              <a:rPr lang="zh-CN" altLang="en-US"/>
              <a:t>.js</a:t>
            </a:r>
            <a:endParaRPr lang="zh-CN" altLang="en-US"/>
          </a:p>
          <a:p>
            <a:r>
              <a:rPr lang="zh-CN" altLang="en-US"/>
              <a:t>const Controller = require('egg').Controller;</a:t>
            </a:r>
            <a:endParaRPr lang="zh-CN" altLang="en-US"/>
          </a:p>
          <a:p>
            <a:endParaRPr lang="zh-CN" altLang="en-US"/>
          </a:p>
          <a:p>
            <a:r>
              <a:rPr lang="zh-CN" altLang="en-US"/>
              <a:t>class HomeController extends Controller {</a:t>
            </a:r>
            <a:endParaRPr lang="zh-CN" altLang="en-US"/>
          </a:p>
          <a:p>
            <a:r>
              <a:rPr lang="zh-CN" altLang="en-US"/>
              <a:t>  async index() {</a:t>
            </a:r>
            <a:endParaRPr lang="zh-CN" altLang="en-US"/>
          </a:p>
          <a:p>
            <a:r>
              <a:rPr lang="zh-CN" altLang="en-US"/>
              <a:t>    const {ctx, service, app} = this</a:t>
            </a:r>
            <a:endParaRPr lang="zh-CN" altLang="en-US"/>
          </a:p>
          <a:p>
            <a:r>
              <a:rPr lang="zh-CN" altLang="en-US"/>
              <a:t>    ctx.body = 'hi, egg'</a:t>
            </a:r>
            <a:endParaRPr lang="zh-CN" altLang="en-US"/>
          </a:p>
          <a:p>
            <a:r>
              <a:rPr lang="zh-CN" altLang="en-US"/>
              <a:t>  }</a:t>
            </a:r>
            <a:endParaRPr lang="zh-CN" altLang="en-US"/>
          </a:p>
          <a:p>
            <a:r>
              <a:rPr lang="zh-CN" altLang="en-US"/>
              <a:t>}</a:t>
            </a:r>
            <a:endParaRPr lang="zh-CN" altLang="en-US"/>
          </a:p>
          <a:p>
            <a:endParaRPr lang="zh-CN" altLang="en-US"/>
          </a:p>
          <a:p>
            <a:r>
              <a:rPr lang="zh-CN" altLang="en-US"/>
              <a:t>module.exports = HomeController</a:t>
            </a:r>
            <a:endParaRPr lang="zh-CN" altLang="en-US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81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</a:t>
            </a: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内置对象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9" name="文本框 88"/>
          <p:cNvSpPr txBox="1"/>
          <p:nvPr/>
        </p:nvSpPr>
        <p:spPr>
          <a:xfrm>
            <a:off x="749935" y="1228090"/>
            <a:ext cx="56261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Context  </a:t>
            </a:r>
            <a:r>
              <a:rPr lang="zh-CN" altLang="en-US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上下文</a:t>
            </a:r>
            <a:r>
              <a:rPr lang="zh-CN" altLang="en-US"/>
              <a:t> </a:t>
            </a:r>
            <a:endParaRPr lang="zh-CN" altLang="en-US"/>
          </a:p>
        </p:txBody>
      </p:sp>
      <p:sp>
        <p:nvSpPr>
          <p:cNvPr id="90" name="文本框 89"/>
          <p:cNvSpPr txBox="1"/>
          <p:nvPr/>
        </p:nvSpPr>
        <p:spPr>
          <a:xfrm>
            <a:off x="749935" y="1934845"/>
            <a:ext cx="11292205" cy="107632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600"/>
              <a:t>Context 是一个请求级别的对象，继承自 Koa.Context。在每一次收到用户请求时，框架会实例化一个 Context 对象，这个对象封装了这次用户请求的信息，并提供了许多便捷的方法来获取请求参数或者设置响应信息。框架会将所有的 Service 挂载到 Context 实例上，一些插件也会将一些其他的方法和对象挂载到它上面（egg-sequelize 会将所有的 model 挂载在 Context 上）。</a:t>
            </a:r>
            <a:endParaRPr lang="zh-CN" altLang="en-US" sz="1600"/>
          </a:p>
        </p:txBody>
      </p:sp>
      <p:sp>
        <p:nvSpPr>
          <p:cNvPr id="92" name="文本框 91"/>
          <p:cNvSpPr txBox="1"/>
          <p:nvPr/>
        </p:nvSpPr>
        <p:spPr>
          <a:xfrm>
            <a:off x="838835" y="3238500"/>
            <a:ext cx="11113770" cy="31381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>
                <a:sym typeface="+mn-ea"/>
              </a:rPr>
              <a:t>// app/controller/</a:t>
            </a:r>
            <a:r>
              <a:rPr lang="en-US" altLang="zh-CN">
                <a:sym typeface="+mn-ea"/>
              </a:rPr>
              <a:t>home</a:t>
            </a:r>
            <a:r>
              <a:rPr lang="zh-CN" altLang="en-US">
                <a:sym typeface="+mn-ea"/>
              </a:rPr>
              <a:t>.js</a:t>
            </a:r>
            <a:endParaRPr lang="zh-CN" altLang="en-US"/>
          </a:p>
          <a:p>
            <a:r>
              <a:rPr lang="zh-CN" altLang="en-US">
                <a:sym typeface="+mn-ea"/>
              </a:rPr>
              <a:t>const Controller = require('egg').Controller;</a:t>
            </a:r>
            <a:endParaRPr lang="zh-CN" altLang="en-US"/>
          </a:p>
          <a:p>
            <a:endParaRPr lang="zh-CN" altLang="en-US"/>
          </a:p>
          <a:p>
            <a:r>
              <a:rPr lang="zh-CN" altLang="en-US">
                <a:sym typeface="+mn-ea"/>
              </a:rPr>
              <a:t>class HomeController extends Controller {</a:t>
            </a:r>
            <a:endParaRPr lang="zh-CN" altLang="en-US"/>
          </a:p>
          <a:p>
            <a:r>
              <a:rPr lang="zh-CN" altLang="en-US">
                <a:sym typeface="+mn-ea"/>
              </a:rPr>
              <a:t>  async index() {</a:t>
            </a:r>
            <a:endParaRPr lang="zh-CN" altLang="en-US"/>
          </a:p>
          <a:p>
            <a:r>
              <a:rPr lang="zh-CN" altLang="en-US">
                <a:sym typeface="+mn-ea"/>
              </a:rPr>
              <a:t>    const {ctx, service, app} = this</a:t>
            </a:r>
            <a:endParaRPr lang="zh-CN" altLang="en-US"/>
          </a:p>
          <a:p>
            <a:r>
              <a:rPr lang="zh-CN" altLang="en-US">
                <a:sym typeface="+mn-ea"/>
              </a:rPr>
              <a:t>    ctx.body = 'hi, egg'</a:t>
            </a:r>
            <a:endParaRPr lang="zh-CN" altLang="en-US"/>
          </a:p>
          <a:p>
            <a:r>
              <a:rPr lang="zh-CN" altLang="en-US">
                <a:sym typeface="+mn-ea"/>
              </a:rPr>
              <a:t>  }</a:t>
            </a:r>
            <a:endParaRPr lang="zh-CN" altLang="en-US"/>
          </a:p>
          <a:p>
            <a:r>
              <a:rPr lang="zh-CN" altLang="en-US">
                <a:sym typeface="+mn-ea"/>
              </a:rPr>
              <a:t>}</a:t>
            </a:r>
            <a:endParaRPr lang="zh-CN" altLang="en-US"/>
          </a:p>
          <a:p>
            <a:endParaRPr lang="zh-CN" altLang="en-US"/>
          </a:p>
          <a:p>
            <a:r>
              <a:rPr lang="zh-CN" altLang="en-US">
                <a:sym typeface="+mn-ea"/>
              </a:rPr>
              <a:t>module.exports = HomeController</a:t>
            </a:r>
            <a:endParaRPr lang="zh-CN" altLang="en-US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81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</a:t>
            </a: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内置对象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9" name="文本框 88"/>
          <p:cNvSpPr txBox="1"/>
          <p:nvPr/>
        </p:nvSpPr>
        <p:spPr>
          <a:xfrm>
            <a:off x="749935" y="1228090"/>
            <a:ext cx="56261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Request &amp; Response </a:t>
            </a:r>
            <a:r>
              <a:rPr lang="zh-CN" altLang="en-US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请求和响应</a:t>
            </a:r>
            <a:r>
              <a:rPr lang="zh-CN" altLang="en-US"/>
              <a:t> </a:t>
            </a:r>
            <a:endParaRPr lang="zh-CN" altLang="en-US"/>
          </a:p>
        </p:txBody>
      </p:sp>
      <p:sp>
        <p:nvSpPr>
          <p:cNvPr id="90" name="文本框 89"/>
          <p:cNvSpPr txBox="1"/>
          <p:nvPr/>
        </p:nvSpPr>
        <p:spPr>
          <a:xfrm>
            <a:off x="749935" y="1944370"/>
            <a:ext cx="11292205" cy="13220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600"/>
              <a:t>Request 是一个请求级别的对象，继承自 Koa.Request。封装了 Node.js 原生的 HTTP Request 对象，提供了一系列辅助方法获取 HTTP 请求常用参数。</a:t>
            </a:r>
            <a:endParaRPr lang="zh-CN" altLang="en-US" sz="1600"/>
          </a:p>
          <a:p>
            <a:endParaRPr lang="zh-CN" altLang="en-US" sz="1600"/>
          </a:p>
          <a:p>
            <a:r>
              <a:rPr lang="zh-CN" altLang="en-US" sz="1600"/>
              <a:t>Response 是一个请求级别的对象，继承自 Koa.Response。封装了 Node.js 原生的 HTTP Response 对象，提供了一系列辅助方法设置 HTTP 响应。</a:t>
            </a:r>
            <a:endParaRPr lang="zh-CN" altLang="en-US" sz="1600"/>
          </a:p>
        </p:txBody>
      </p:sp>
      <p:sp>
        <p:nvSpPr>
          <p:cNvPr id="92" name="文本框 91"/>
          <p:cNvSpPr txBox="1"/>
          <p:nvPr/>
        </p:nvSpPr>
        <p:spPr>
          <a:xfrm>
            <a:off x="819150" y="3562985"/>
            <a:ext cx="11113770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>
                <a:sym typeface="+mn-ea"/>
              </a:rPr>
              <a:t>// app/controller/</a:t>
            </a:r>
            <a:r>
              <a:rPr lang="en-US" altLang="zh-CN">
                <a:sym typeface="+mn-ea"/>
              </a:rPr>
              <a:t>home</a:t>
            </a:r>
            <a:r>
              <a:rPr lang="zh-CN" altLang="en-US">
                <a:sym typeface="+mn-ea"/>
              </a:rPr>
              <a:t>.js</a:t>
            </a:r>
            <a:endParaRPr lang="zh-CN" altLang="en-US"/>
          </a:p>
          <a:p>
            <a:r>
              <a:rPr lang="zh-CN" altLang="en-US">
                <a:sym typeface="+mn-ea"/>
              </a:rPr>
              <a:t>class HomeController extends Controller {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async index() {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const {ctx, service, app} = this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ctx.arg = _.merge(ctx.query, ctx.request.body);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  ctx.response.body = 'Hello, ' + ctx.arg.name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  }</a:t>
            </a:r>
            <a:endParaRPr lang="zh-CN" altLang="en-US">
              <a:sym typeface="+mn-ea"/>
            </a:endParaRPr>
          </a:p>
          <a:p>
            <a:r>
              <a:rPr lang="zh-CN" altLang="en-US">
                <a:sym typeface="+mn-ea"/>
              </a:rPr>
              <a:t>}</a:t>
            </a:r>
            <a:endParaRPr lang="zh-CN" altLang="en-US">
              <a:sym typeface="+mn-ea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81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</a:t>
            </a: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内置对象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9" name="文本框 88"/>
          <p:cNvSpPr txBox="1"/>
          <p:nvPr/>
        </p:nvSpPr>
        <p:spPr>
          <a:xfrm>
            <a:off x="749935" y="1228090"/>
            <a:ext cx="56261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Controller </a:t>
            </a:r>
            <a:r>
              <a:rPr lang="zh-CN" altLang="en-US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控制器</a:t>
            </a:r>
            <a:r>
              <a:rPr lang="zh-CN" altLang="en-US"/>
              <a:t> </a:t>
            </a:r>
            <a:endParaRPr lang="zh-CN" altLang="en-US"/>
          </a:p>
        </p:txBody>
      </p:sp>
      <p:sp>
        <p:nvSpPr>
          <p:cNvPr id="90" name="文本框 89"/>
          <p:cNvSpPr txBox="1"/>
          <p:nvPr/>
        </p:nvSpPr>
        <p:spPr>
          <a:xfrm>
            <a:off x="749935" y="2058670"/>
            <a:ext cx="1129220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/>
              <a:t>框架提供了一个 Controller 基类，并推荐所有的 Controller 都继承于该基类实现。</a:t>
            </a:r>
            <a:endParaRPr lang="zh-CN" altLang="en-US"/>
          </a:p>
        </p:txBody>
      </p:sp>
      <p:sp>
        <p:nvSpPr>
          <p:cNvPr id="92" name="文本框 91"/>
          <p:cNvSpPr txBox="1"/>
          <p:nvPr/>
        </p:nvSpPr>
        <p:spPr>
          <a:xfrm>
            <a:off x="838835" y="2915285"/>
            <a:ext cx="11113770" cy="258445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/>
              <a:t>// app/controller/user.js</a:t>
            </a:r>
            <a:endParaRPr lang="zh-CN" altLang="en-US"/>
          </a:p>
          <a:p>
            <a:endParaRPr lang="zh-CN" altLang="en-US"/>
          </a:p>
          <a:p>
            <a:r>
              <a:rPr lang="zh-CN" altLang="en-US"/>
              <a:t>// 从 egg 上获取（推荐）</a:t>
            </a:r>
            <a:endParaRPr lang="zh-CN" altLang="en-US"/>
          </a:p>
          <a:p>
            <a:r>
              <a:rPr lang="zh-CN" altLang="en-US"/>
              <a:t>const Controller = require('egg').Controller;</a:t>
            </a:r>
            <a:endParaRPr lang="zh-CN" altLang="en-US"/>
          </a:p>
          <a:p>
            <a:r>
              <a:rPr lang="zh-CN" altLang="en-US"/>
              <a:t>class UserController extends Controller {</a:t>
            </a:r>
            <a:endParaRPr lang="zh-CN" altLang="en-US"/>
          </a:p>
          <a:p>
            <a:r>
              <a:rPr lang="zh-CN" altLang="en-US"/>
              <a:t>    // implement</a:t>
            </a:r>
            <a:endParaRPr lang="zh-CN" altLang="en-US"/>
          </a:p>
          <a:p>
            <a:r>
              <a:rPr lang="zh-CN" altLang="en-US"/>
              <a:t>}</a:t>
            </a:r>
            <a:endParaRPr lang="zh-CN" altLang="en-US"/>
          </a:p>
          <a:p>
            <a:endParaRPr lang="zh-CN" altLang="en-US"/>
          </a:p>
          <a:p>
            <a:r>
              <a:rPr lang="zh-CN" altLang="en-US"/>
              <a:t>module.exports = UserController;</a:t>
            </a:r>
            <a:endParaRPr lang="zh-CN" altLang="en-US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81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</a:t>
            </a: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内置对象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9" name="文本框 88"/>
          <p:cNvSpPr txBox="1"/>
          <p:nvPr/>
        </p:nvSpPr>
        <p:spPr>
          <a:xfrm>
            <a:off x="749935" y="1228090"/>
            <a:ext cx="56261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Service  </a:t>
            </a:r>
            <a:r>
              <a:rPr lang="zh-CN" altLang="en-US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服务</a:t>
            </a:r>
            <a:r>
              <a:rPr lang="zh-CN" altLang="en-US"/>
              <a:t> </a:t>
            </a:r>
            <a:endParaRPr lang="zh-CN" altLang="en-US"/>
          </a:p>
        </p:txBody>
      </p:sp>
      <p:sp>
        <p:nvSpPr>
          <p:cNvPr id="90" name="文本框 89"/>
          <p:cNvSpPr txBox="1"/>
          <p:nvPr/>
        </p:nvSpPr>
        <p:spPr>
          <a:xfrm>
            <a:off x="749935" y="2058670"/>
            <a:ext cx="1129220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600"/>
              <a:t>框架提供了一个 Service 基类，并推荐所有的 Service 都继承于该基类实现。</a:t>
            </a:r>
            <a:endParaRPr lang="zh-CN" altLang="en-US" sz="1600"/>
          </a:p>
        </p:txBody>
      </p:sp>
      <p:sp>
        <p:nvSpPr>
          <p:cNvPr id="92" name="文本框 91"/>
          <p:cNvSpPr txBox="1"/>
          <p:nvPr/>
        </p:nvSpPr>
        <p:spPr>
          <a:xfrm>
            <a:off x="838835" y="2915285"/>
            <a:ext cx="11113770" cy="258445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/>
              <a:t>// app/service/user.js</a:t>
            </a:r>
            <a:endParaRPr lang="zh-CN" altLang="en-US"/>
          </a:p>
          <a:p>
            <a:endParaRPr lang="zh-CN" altLang="en-US"/>
          </a:p>
          <a:p>
            <a:r>
              <a:rPr lang="zh-CN" altLang="en-US"/>
              <a:t>// 从 egg 上获取（推荐）</a:t>
            </a:r>
            <a:endParaRPr lang="zh-CN" altLang="en-US"/>
          </a:p>
          <a:p>
            <a:r>
              <a:rPr lang="zh-CN" altLang="en-US"/>
              <a:t>const Service = require('egg').Service;</a:t>
            </a:r>
            <a:endParaRPr lang="zh-CN" altLang="en-US"/>
          </a:p>
          <a:p>
            <a:r>
              <a:rPr lang="zh-CN" altLang="en-US"/>
              <a:t>class UserService extends Service {</a:t>
            </a:r>
            <a:endParaRPr lang="zh-CN" altLang="en-US"/>
          </a:p>
          <a:p>
            <a:r>
              <a:rPr lang="zh-CN" altLang="en-US"/>
              <a:t>    // implement</a:t>
            </a:r>
            <a:endParaRPr lang="zh-CN" altLang="en-US"/>
          </a:p>
          <a:p>
            <a:r>
              <a:rPr lang="zh-CN" altLang="en-US"/>
              <a:t>}</a:t>
            </a:r>
            <a:endParaRPr lang="zh-CN" altLang="en-US"/>
          </a:p>
          <a:p>
            <a:endParaRPr lang="zh-CN" altLang="en-US"/>
          </a:p>
          <a:p>
            <a:r>
              <a:rPr lang="zh-CN" altLang="en-US"/>
              <a:t>module.exports = UserService;</a:t>
            </a:r>
            <a:endParaRPr lang="zh-CN" altLang="en-US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Freeform 5"/>
          <p:cNvSpPr/>
          <p:nvPr/>
        </p:nvSpPr>
        <p:spPr bwMode="auto">
          <a:xfrm flipH="1">
            <a:off x="317476" y="87280"/>
            <a:ext cx="1074821" cy="645278"/>
          </a:xfrm>
          <a:custGeom>
            <a:avLst/>
            <a:gdLst>
              <a:gd name="T0" fmla="*/ 451 w 806"/>
              <a:gd name="T1" fmla="*/ 0 h 454"/>
              <a:gd name="T2" fmla="*/ 294 w 806"/>
              <a:gd name="T3" fmla="*/ 119 h 454"/>
              <a:gd name="T4" fmla="*/ 235 w 806"/>
              <a:gd name="T5" fmla="*/ 103 h 454"/>
              <a:gd name="T6" fmla="*/ 118 w 806"/>
              <a:gd name="T7" fmla="*/ 220 h 454"/>
              <a:gd name="T8" fmla="*/ 0 w 806"/>
              <a:gd name="T9" fmla="*/ 337 h 454"/>
              <a:gd name="T10" fmla="*/ 118 w 806"/>
              <a:gd name="T11" fmla="*/ 454 h 454"/>
              <a:gd name="T12" fmla="*/ 665 w 806"/>
              <a:gd name="T13" fmla="*/ 454 h 454"/>
              <a:gd name="T14" fmla="*/ 806 w 806"/>
              <a:gd name="T15" fmla="*/ 313 h 454"/>
              <a:gd name="T16" fmla="*/ 744 w 806"/>
              <a:gd name="T17" fmla="*/ 196 h 454"/>
              <a:gd name="T18" fmla="*/ 744 w 806"/>
              <a:gd name="T19" fmla="*/ 194 h 454"/>
              <a:gd name="T20" fmla="*/ 636 w 806"/>
              <a:gd name="T21" fmla="*/ 86 h 454"/>
              <a:gd name="T22" fmla="*/ 598 w 806"/>
              <a:gd name="T23" fmla="*/ 93 h 454"/>
              <a:gd name="T24" fmla="*/ 451 w 806"/>
              <a:gd name="T25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6" h="454">
                <a:moveTo>
                  <a:pt x="451" y="0"/>
                </a:moveTo>
                <a:cubicBezTo>
                  <a:pt x="376" y="0"/>
                  <a:pt x="313" y="50"/>
                  <a:pt x="294" y="119"/>
                </a:cubicBezTo>
                <a:cubicBezTo>
                  <a:pt x="277" y="109"/>
                  <a:pt x="257" y="103"/>
                  <a:pt x="235" y="103"/>
                </a:cubicBezTo>
                <a:cubicBezTo>
                  <a:pt x="170" y="103"/>
                  <a:pt x="118" y="155"/>
                  <a:pt x="118" y="220"/>
                </a:cubicBezTo>
                <a:cubicBezTo>
                  <a:pt x="53" y="220"/>
                  <a:pt x="0" y="272"/>
                  <a:pt x="0" y="337"/>
                </a:cubicBezTo>
                <a:cubicBezTo>
                  <a:pt x="0" y="402"/>
                  <a:pt x="53" y="454"/>
                  <a:pt x="118" y="454"/>
                </a:cubicBezTo>
                <a:cubicBezTo>
                  <a:pt x="665" y="454"/>
                  <a:pt x="665" y="454"/>
                  <a:pt x="665" y="454"/>
                </a:cubicBezTo>
                <a:cubicBezTo>
                  <a:pt x="743" y="454"/>
                  <a:pt x="806" y="391"/>
                  <a:pt x="806" y="313"/>
                </a:cubicBezTo>
                <a:cubicBezTo>
                  <a:pt x="806" y="265"/>
                  <a:pt x="782" y="222"/>
                  <a:pt x="744" y="196"/>
                </a:cubicBezTo>
                <a:cubicBezTo>
                  <a:pt x="744" y="196"/>
                  <a:pt x="744" y="195"/>
                  <a:pt x="744" y="194"/>
                </a:cubicBezTo>
                <a:cubicBezTo>
                  <a:pt x="744" y="135"/>
                  <a:pt x="696" y="86"/>
                  <a:pt x="636" y="86"/>
                </a:cubicBezTo>
                <a:cubicBezTo>
                  <a:pt x="623" y="86"/>
                  <a:pt x="610" y="89"/>
                  <a:pt x="598" y="93"/>
                </a:cubicBezTo>
                <a:cubicBezTo>
                  <a:pt x="572" y="38"/>
                  <a:pt x="516" y="0"/>
                  <a:pt x="45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81" name="文本框 23"/>
          <p:cNvSpPr txBox="1"/>
          <p:nvPr/>
        </p:nvSpPr>
        <p:spPr>
          <a:xfrm>
            <a:off x="317476" y="263743"/>
            <a:ext cx="448672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</a:t>
            </a: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</a:t>
            </a:r>
            <a:r>
              <a:rPr lang="zh-CN" altLang="en-US" sz="320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ea"/>
              </a:rPr>
              <a:t>Egg.js内置对象</a:t>
            </a:r>
            <a:endParaRPr kumimoji="0" lang="en-US" altLang="zh-CN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9" name="文本框 88"/>
          <p:cNvSpPr txBox="1"/>
          <p:nvPr/>
        </p:nvSpPr>
        <p:spPr>
          <a:xfrm>
            <a:off x="749935" y="1228090"/>
            <a:ext cx="56261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Helper  </a:t>
            </a:r>
            <a:r>
              <a:rPr lang="zh-CN" altLang="en-US" sz="24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工具</a:t>
            </a:r>
            <a:endParaRPr lang="zh-CN" altLang="en-US"/>
          </a:p>
        </p:txBody>
      </p:sp>
      <p:sp>
        <p:nvSpPr>
          <p:cNvPr id="90" name="文本框 89"/>
          <p:cNvSpPr txBox="1"/>
          <p:nvPr/>
        </p:nvSpPr>
        <p:spPr>
          <a:xfrm>
            <a:off x="749935" y="1953895"/>
            <a:ext cx="11292205" cy="13220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600"/>
              <a:t>Helper 用来提供一些实用的 utility 函数。它的作用在于我们可以将一些常用的动作抽离在 helper.js 里面成为一个独立的函数，这样可以用 JavaScript 来写复杂的逻辑，避免逻辑分散各处，同时可以更好的编写测试用例。</a:t>
            </a:r>
            <a:endParaRPr lang="zh-CN" altLang="en-US" sz="1600"/>
          </a:p>
          <a:p>
            <a:endParaRPr lang="zh-CN" altLang="en-US" sz="1600"/>
          </a:p>
          <a:p>
            <a:r>
              <a:rPr lang="zh-CN" altLang="en-US" sz="1600"/>
              <a:t>Helper 自身是一个类，有和 Controller 基类一样的属性，它也会在每次请求时进行实例化，因此 Helper 上的所有函数也能获取到当前请求相关的上下文信息</a:t>
            </a:r>
            <a:endParaRPr lang="zh-CN" altLang="en-US" sz="1600"/>
          </a:p>
        </p:txBody>
      </p:sp>
      <p:sp>
        <p:nvSpPr>
          <p:cNvPr id="92" name="文本框 91"/>
          <p:cNvSpPr txBox="1"/>
          <p:nvPr/>
        </p:nvSpPr>
        <p:spPr>
          <a:xfrm>
            <a:off x="839470" y="3410585"/>
            <a:ext cx="11113770" cy="258445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/>
              <a:t>// app/controller/</a:t>
            </a:r>
            <a:r>
              <a:rPr lang="en-US" altLang="zh-CN"/>
              <a:t>home</a:t>
            </a:r>
            <a:r>
              <a:rPr lang="zh-CN" altLang="en-US"/>
              <a:t>.js</a:t>
            </a:r>
            <a:endParaRPr lang="zh-CN" altLang="en-US"/>
          </a:p>
          <a:p>
            <a:r>
              <a:rPr lang="zh-CN" altLang="en-US"/>
              <a:t>class HomeController extends Controller {</a:t>
            </a:r>
            <a:endParaRPr lang="zh-CN" altLang="en-US"/>
          </a:p>
          <a:p>
            <a:r>
              <a:rPr lang="zh-CN" altLang="en-US"/>
              <a:t>  async index() {</a:t>
            </a:r>
            <a:endParaRPr lang="zh-CN" altLang="en-US"/>
          </a:p>
          <a:p>
            <a:r>
              <a:rPr lang="zh-CN" altLang="en-US"/>
              <a:t>    const {ctx, service, app} = this</a:t>
            </a:r>
            <a:endParaRPr lang="zh-CN" altLang="en-US"/>
          </a:p>
          <a:p>
            <a:r>
              <a:rPr lang="zh-CN" altLang="en-US"/>
              <a:t>    ctx.helper.pre("index");</a:t>
            </a:r>
            <a:endParaRPr lang="zh-CN" altLang="en-US"/>
          </a:p>
          <a:p>
            <a:r>
              <a:rPr lang="zh-CN" altLang="en-US"/>
              <a:t>    ctx.response.body = 'Hello, ' + ctx.arg.name</a:t>
            </a:r>
            <a:endParaRPr lang="zh-CN" altLang="en-US"/>
          </a:p>
          <a:p>
            <a:r>
              <a:rPr lang="zh-CN" altLang="en-US"/>
              <a:t>    ctx.helper.end("index");</a:t>
            </a:r>
            <a:endParaRPr lang="zh-CN" altLang="en-US"/>
          </a:p>
          <a:p>
            <a:r>
              <a:rPr lang="zh-CN" altLang="en-US"/>
              <a:t>  }</a:t>
            </a:r>
            <a:endParaRPr lang="zh-CN" altLang="en-US"/>
          </a:p>
          <a:p>
            <a:r>
              <a:rPr lang="zh-CN" altLang="en-US"/>
              <a:t>}</a:t>
            </a:r>
            <a:endParaRPr lang="zh-CN" altLang="en-US"/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MH" val="20160830110146"/>
  <p:tag name="MH_LIBRARY" val="CONTENTS"/>
  <p:tag name="MH_TYPE" val="ENTRY"/>
  <p:tag name="ID" val="553512"/>
  <p:tag name="MH_ORDER" val="4"/>
</p:tagLst>
</file>

<file path=ppt/tags/tag11.xml><?xml version="1.0" encoding="utf-8"?>
<p:tagLst xmlns:p="http://schemas.openxmlformats.org/presentationml/2006/main">
  <p:tag name="THINKCELLSHAPEDONOTDELETE" val="thinkcellActiveDocDoNotDelete"/>
</p:tagLst>
</file>

<file path=ppt/tags/tag12.xml><?xml version="1.0" encoding="utf-8"?>
<p:tagLst xmlns:p="http://schemas.openxmlformats.org/presentationml/2006/main">
  <p:tag name="THINKCELLSHAPEDONOTDELETE" val="t1Smkff3fSzGMOuItfjj3Fw"/>
</p:tagLst>
</file>

<file path=ppt/tags/tag13.xml><?xml version="1.0" encoding="utf-8"?>
<p:tagLst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bb7e4016-7354-4b99-bb83-4933409858cd"/>
</p:tagLst>
</file>

<file path=ppt/tags/tag2.xml><?xml version="1.0" encoding="utf-8"?>
<p:tagLst xmlns:p="http://schemas.openxmlformats.org/presentationml/2006/main">
  <p:tag name="THINKCELLSHAPEDONOTDELETE" val="tA6S0wzOvQ8a50SA42PUNRg"/>
</p:tagLst>
</file>

<file path=ppt/tags/tag3.xml><?xml version="1.0" encoding="utf-8"?>
<p:tagLst xmlns:p="http://schemas.openxmlformats.org/presentationml/2006/main">
  <p:tag name="MH" val="20160830110146"/>
  <p:tag name="MH_LIBRARY" val="CONTENTS"/>
  <p:tag name="MH_TYPE" val="NUMBER"/>
  <p:tag name="ID" val="553512"/>
  <p:tag name="MH_ORDER" val="1"/>
</p:tagLst>
</file>

<file path=ppt/tags/tag4.xml><?xml version="1.0" encoding="utf-8"?>
<p:tagLst xmlns:p="http://schemas.openxmlformats.org/presentationml/2006/main">
  <p:tag name="MH" val="20160830110146"/>
  <p:tag name="MH_LIBRARY" val="CONTENTS"/>
  <p:tag name="MH_TYPE" val="ENTRY"/>
  <p:tag name="ID" val="553512"/>
  <p:tag name="MH_ORDER" val="1"/>
</p:tagLst>
</file>

<file path=ppt/tags/tag5.xml><?xml version="1.0" encoding="utf-8"?>
<p:tagLst xmlns:p="http://schemas.openxmlformats.org/presentationml/2006/main">
  <p:tag name="MH" val="20160830110146"/>
  <p:tag name="MH_LIBRARY" val="CONTENTS"/>
  <p:tag name="MH_TYPE" val="NUMBER"/>
  <p:tag name="ID" val="553512"/>
  <p:tag name="MH_ORDER" val="2"/>
</p:tagLst>
</file>

<file path=ppt/tags/tag6.xml><?xml version="1.0" encoding="utf-8"?>
<p:tagLst xmlns:p="http://schemas.openxmlformats.org/presentationml/2006/main">
  <p:tag name="MH" val="20160830110146"/>
  <p:tag name="MH_LIBRARY" val="CONTENTS"/>
  <p:tag name="MH_TYPE" val="ENTRY"/>
  <p:tag name="ID" val="553512"/>
  <p:tag name="MH_ORDER" val="2"/>
</p:tagLst>
</file>

<file path=ppt/tags/tag7.xml><?xml version="1.0" encoding="utf-8"?>
<p:tagLst xmlns:p="http://schemas.openxmlformats.org/presentationml/2006/main">
  <p:tag name="MH" val="20160830110146"/>
  <p:tag name="MH_LIBRARY" val="CONTENTS"/>
  <p:tag name="MH_TYPE" val="NUMBER"/>
  <p:tag name="ID" val="553512"/>
  <p:tag name="MH_ORDER" val="3"/>
</p:tagLst>
</file>

<file path=ppt/tags/tag8.xml><?xml version="1.0" encoding="utf-8"?>
<p:tagLst xmlns:p="http://schemas.openxmlformats.org/presentationml/2006/main">
  <p:tag name="MH" val="20160830110146"/>
  <p:tag name="MH_LIBRARY" val="CONTENTS"/>
  <p:tag name="MH_TYPE" val="ENTRY"/>
  <p:tag name="ID" val="553512"/>
  <p:tag name="MH_ORDER" val="3"/>
</p:tagLst>
</file>

<file path=ppt/tags/tag9.xml><?xml version="1.0" encoding="utf-8"?>
<p:tagLst xmlns:p="http://schemas.openxmlformats.org/presentationml/2006/main">
  <p:tag name="MH" val="20160830110146"/>
  <p:tag name="MH_LIBRARY" val="CONTENTS"/>
  <p:tag name="MH_TYPE" val="NUMBER"/>
  <p:tag name="ID" val="553512"/>
  <p:tag name="MH_ORDER" val="4"/>
</p:tagLst>
</file>

<file path=ppt/theme/theme1.xml><?xml version="1.0" encoding="utf-8"?>
<a:theme xmlns:a="http://schemas.openxmlformats.org/drawingml/2006/main" name="第一PPT,www.1ppt.com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0061B3"/>
      </a:accent1>
      <a:accent2>
        <a:srgbClr val="0EAFFD"/>
      </a:accent2>
      <a:accent3>
        <a:srgbClr val="00A6D9"/>
      </a:accent3>
      <a:accent4>
        <a:srgbClr val="818181"/>
      </a:accent4>
      <a:accent5>
        <a:srgbClr val="A5A5A5"/>
      </a:accent5>
      <a:accent6>
        <a:srgbClr val="C9C9C9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>
          <a:gsLst>
            <a:gs pos="0">
              <a:srgbClr val="81CBFF"/>
            </a:gs>
            <a:gs pos="100000">
              <a:srgbClr val="4F86FF"/>
            </a:gs>
          </a:gsLst>
          <a:lin ang="5400000" scaled="1"/>
        </a:gradFill>
        <a:ln w="27521" cap="flat">
          <a:noFill/>
          <a:prstDash val="solid"/>
          <a:miter/>
        </a:ln>
      </a:spPr>
      <a:bodyPr rtlCol="0" anchor="ctr"/>
      <a:lstStyle>
        <a:defPPr>
          <a:defRPr/>
        </a:defPPr>
      </a:lst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0061B3"/>
    </a:accent1>
    <a:accent2>
      <a:srgbClr val="0EAFFD"/>
    </a:accent2>
    <a:accent3>
      <a:srgbClr val="00A6D9"/>
    </a:accent3>
    <a:accent4>
      <a:srgbClr val="818181"/>
    </a:accent4>
    <a:accent5>
      <a:srgbClr val="A5A5A5"/>
    </a:accent5>
    <a:accent6>
      <a:srgbClr val="C9C9C9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0061B3"/>
    </a:accent1>
    <a:accent2>
      <a:srgbClr val="0EAFFD"/>
    </a:accent2>
    <a:accent3>
      <a:srgbClr val="00A6D9"/>
    </a:accent3>
    <a:accent4>
      <a:srgbClr val="818181"/>
    </a:accent4>
    <a:accent5>
      <a:srgbClr val="A5A5A5"/>
    </a:accent5>
    <a:accent6>
      <a:srgbClr val="C9C9C9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0061B3"/>
    </a:accent1>
    <a:accent2>
      <a:srgbClr val="0EAFFD"/>
    </a:accent2>
    <a:accent3>
      <a:srgbClr val="00A6D9"/>
    </a:accent3>
    <a:accent4>
      <a:srgbClr val="818181"/>
    </a:accent4>
    <a:accent5>
      <a:srgbClr val="A5A5A5"/>
    </a:accent5>
    <a:accent6>
      <a:srgbClr val="C9C9C9"/>
    </a:accent6>
    <a:hlink>
      <a:srgbClr val="4472C4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0061B3"/>
    </a:accent1>
    <a:accent2>
      <a:srgbClr val="0EAFFD"/>
    </a:accent2>
    <a:accent3>
      <a:srgbClr val="00A6D9"/>
    </a:accent3>
    <a:accent4>
      <a:srgbClr val="818181"/>
    </a:accent4>
    <a:accent5>
      <a:srgbClr val="A5A5A5"/>
    </a:accent5>
    <a:accent6>
      <a:srgbClr val="C9C9C9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b7e4016-7354-4b99-bb83-4933409858cd-16x9</Template>
  <TotalTime>0</TotalTime>
  <Words>5512</Words>
  <Application>WPS 演示</Application>
  <PresentationFormat>自定义</PresentationFormat>
  <Paragraphs>418</Paragraphs>
  <Slides>31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31</vt:i4>
      </vt:variant>
    </vt:vector>
  </HeadingPairs>
  <TitlesOfParts>
    <vt:vector size="48" baseType="lpstr">
      <vt:lpstr>Arial</vt:lpstr>
      <vt:lpstr>宋体</vt:lpstr>
      <vt:lpstr>Wingdings</vt:lpstr>
      <vt:lpstr>Calibri</vt:lpstr>
      <vt:lpstr>微软雅黑</vt:lpstr>
      <vt:lpstr>Roboto</vt:lpstr>
      <vt:lpstr>Wide Latin</vt:lpstr>
      <vt:lpstr>等线</vt:lpstr>
      <vt:lpstr>汉仪综艺体简</vt:lpstr>
      <vt:lpstr>Fedra Sans Std Medium</vt:lpstr>
      <vt:lpstr>Times New Roman</vt:lpstr>
      <vt:lpstr>Impact</vt:lpstr>
      <vt:lpstr>Arial Unicode MS</vt:lpstr>
      <vt:lpstr>Segoe Print</vt:lpstr>
      <vt:lpstr>第一PPT,www.1ppt.com</vt:lpstr>
      <vt:lpstr>TCLayout.ActiveDocument.1</vt:lpstr>
      <vt:lpstr>TCLayout.ActiveDocument.1</vt:lpstr>
      <vt:lpstr>20XX POWERPOINT </vt:lpstr>
      <vt:lpstr>PowerPoint 演示文稿</vt:lpstr>
      <vt:lpstr>Section Header Her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Section Header Her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Section Header Here</vt:lpstr>
      <vt:lpstr>PowerPoint 演示文稿</vt:lpstr>
      <vt:lpstr>PowerPoint 演示文稿</vt:lpstr>
      <vt:lpstr>PowerPoint 演示文稿</vt:lpstr>
      <vt:lpstr>PowerPoint 演示文稿</vt:lpstr>
      <vt:lpstr>Section Header Her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Thanks! And Your Slogan Here</vt:lpstr>
    </vt:vector>
  </TitlesOfParts>
  <Company>P R C</Company>
  <LinksUpToDate>false</LinksUpToDate>
  <SharedDoc>false</SharedDoc>
  <HyperlinksChanged>false</HyperlinksChanged>
  <AppVersion>14.0000</AppVersion>
  <Manager>第一PPT，www.1ppt.com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蓝色扁平化</dc:title>
  <dc:creator>第一PPT</dc:creator>
  <cp:keywords>www.1ppt.com</cp:keywords>
  <dc:description>www.1ppt.com</dc:description>
  <cp:lastModifiedBy>xiaotao.song</cp:lastModifiedBy>
  <cp:revision>145</cp:revision>
  <cp:lastPrinted>2019-07-31T16:00:00Z</cp:lastPrinted>
  <dcterms:created xsi:type="dcterms:W3CDTF">2019-10-09T01:10:00Z</dcterms:created>
  <dcterms:modified xsi:type="dcterms:W3CDTF">2020-01-14T05:40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1.1.0.9305</vt:lpwstr>
  </property>
</Properties>
</file>